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32" r:id="rId4"/>
  </p:sldMasterIdLst>
  <p:notesMasterIdLst>
    <p:notesMasterId r:id="rId38"/>
  </p:notesMasterIdLst>
  <p:handoutMasterIdLst>
    <p:handoutMasterId r:id="rId39"/>
  </p:handoutMasterIdLst>
  <p:sldIdLst>
    <p:sldId id="619" r:id="rId5"/>
    <p:sldId id="660" r:id="rId6"/>
    <p:sldId id="724" r:id="rId7"/>
    <p:sldId id="736" r:id="rId8"/>
    <p:sldId id="727" r:id="rId9"/>
    <p:sldId id="737" r:id="rId10"/>
    <p:sldId id="738" r:id="rId11"/>
    <p:sldId id="705" r:id="rId12"/>
    <p:sldId id="706" r:id="rId13"/>
    <p:sldId id="707" r:id="rId14"/>
    <p:sldId id="715" r:id="rId15"/>
    <p:sldId id="729" r:id="rId16"/>
    <p:sldId id="709" r:id="rId17"/>
    <p:sldId id="710" r:id="rId18"/>
    <p:sldId id="711" r:id="rId19"/>
    <p:sldId id="712" r:id="rId20"/>
    <p:sldId id="739" r:id="rId21"/>
    <p:sldId id="740" r:id="rId22"/>
    <p:sldId id="741" r:id="rId23"/>
    <p:sldId id="714" r:id="rId24"/>
    <p:sldId id="716" r:id="rId25"/>
    <p:sldId id="742" r:id="rId26"/>
    <p:sldId id="743" r:id="rId27"/>
    <p:sldId id="718" r:id="rId28"/>
    <p:sldId id="728" r:id="rId29"/>
    <p:sldId id="719" r:id="rId30"/>
    <p:sldId id="731" r:id="rId31"/>
    <p:sldId id="732" r:id="rId32"/>
    <p:sldId id="733" r:id="rId33"/>
    <p:sldId id="735" r:id="rId34"/>
    <p:sldId id="720" r:id="rId35"/>
    <p:sldId id="734" r:id="rId36"/>
    <p:sldId id="602" r:id="rId37"/>
  </p:sldIdLst>
  <p:sldSz cx="9144000" cy="6858000" type="screen4x3"/>
  <p:notesSz cx="7010400" cy="9296400"/>
  <p:custDataLst>
    <p:tags r:id="rId40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2" pos="1610" userDrawn="1">
          <p15:clr>
            <a:srgbClr val="A4A3A4"/>
          </p15:clr>
        </p15:guide>
        <p15:guide id="3" orient="horz" pos="1728" userDrawn="1">
          <p15:clr>
            <a:srgbClr val="A4A3A4"/>
          </p15:clr>
        </p15:guide>
        <p15:guide id="4" pos="204">
          <p15:clr>
            <a:srgbClr val="A4A3A4"/>
          </p15:clr>
        </p15:guide>
        <p15:guide id="5" pos="5556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pos="351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  <p15:guide id="3" orient="horz" pos="29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to Retamal, Rodrigo Enrique" initials="PRR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A28"/>
    <a:srgbClr val="80BD26"/>
    <a:srgbClr val="2582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019" autoAdjust="0"/>
    <p:restoredTop sz="94518" autoAdjust="0"/>
  </p:normalViewPr>
  <p:slideViewPr>
    <p:cSldViewPr>
      <p:cViewPr varScale="1">
        <p:scale>
          <a:sx n="104" d="100"/>
          <a:sy n="104" d="100"/>
        </p:scale>
        <p:origin x="-102" y="-240"/>
      </p:cViewPr>
      <p:guideLst>
        <p:guide orient="horz" pos="1728"/>
        <p:guide orient="horz" pos="527"/>
        <p:guide pos="1610"/>
        <p:guide pos="204"/>
        <p:guide pos="5556"/>
        <p:guide pos="35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3086" y="77"/>
      </p:cViewPr>
      <p:guideLst>
        <p:guide orient="horz" pos="2909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ABFABF-D8B6-4B7D-AA11-2F0FF0F094AE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245A0238-C6AF-4699-AFFE-5B0683428B43}">
      <dgm:prSet phldrT="[Texto]" custT="1"/>
      <dgm:spPr/>
      <dgm:t>
        <a:bodyPr/>
        <a:lstStyle/>
        <a:p>
          <a:r>
            <a:rPr lang="es-CL" sz="1400" b="1" dirty="0" smtClean="0">
              <a:latin typeface="Arial" panose="020B0604020202020204" pitchFamily="34" charset="0"/>
              <a:cs typeface="Arial" panose="020B0604020202020204" pitchFamily="34" charset="0"/>
            </a:rPr>
            <a:t>Eliminación: </a:t>
          </a:r>
        </a:p>
        <a:p>
          <a:r>
            <a:rPr lang="es-CL" sz="1400" dirty="0" smtClean="0">
              <a:latin typeface="Arial" panose="020B0604020202020204" pitchFamily="34" charset="0"/>
              <a:cs typeface="Arial" panose="020B0604020202020204" pitchFamily="34" charset="0"/>
            </a:rPr>
            <a:t>Medidas o soluciones que eliminen la tarea de MMC/MMP. Ej. Mecanizar tarea. </a:t>
          </a:r>
          <a:endParaRPr lang="es-CL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9379E9-E64C-446C-A10A-BE2C301680A7}" type="parTrans" cxnId="{A7B21090-F4CB-413E-B45B-B5A2439D6807}">
      <dgm:prSet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D7825D-C8B7-451B-A235-82E4EEE56261}" type="sibTrans" cxnId="{A7B21090-F4CB-413E-B45B-B5A2439D6807}">
      <dgm:prSet custT="1"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8CE9F6-DB6B-4326-9636-5E397F6071C8}">
      <dgm:prSet phldrT="[Texto]" custT="1"/>
      <dgm:spPr/>
      <dgm:t>
        <a:bodyPr/>
        <a:lstStyle/>
        <a:p>
          <a:r>
            <a:rPr lang="es-CL" sz="1400" b="1" dirty="0" smtClean="0">
              <a:latin typeface="Arial" panose="020B0604020202020204" pitchFamily="34" charset="0"/>
              <a:cs typeface="Arial" panose="020B0604020202020204" pitchFamily="34" charset="0"/>
            </a:rPr>
            <a:t>Mitigación: </a:t>
          </a:r>
        </a:p>
        <a:p>
          <a:r>
            <a:rPr lang="es-CL" sz="1400" dirty="0" smtClean="0">
              <a:latin typeface="Arial" panose="020B0604020202020204" pitchFamily="34" charset="0"/>
              <a:cs typeface="Arial" panose="020B0604020202020204" pitchFamily="34" charset="0"/>
            </a:rPr>
            <a:t>Intervención de alguno de los factores de riesgo por uno menos riesgoso. Ej. Reducir el peso. </a:t>
          </a:r>
          <a:endParaRPr lang="es-CL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802787-9C2A-41F1-B4AF-C39A394B567F}" type="parTrans" cxnId="{68534FE2-F075-4CD5-A749-E5C435CA05DE}">
      <dgm:prSet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284E55-3EC4-4EE7-A91B-ED010058ADED}" type="sibTrans" cxnId="{68534FE2-F075-4CD5-A749-E5C435CA05DE}">
      <dgm:prSet custT="1"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8F4F4E-E2EC-4968-AFE1-69DE1A0DF5BE}">
      <dgm:prSet phldrT="[Texto]" custT="1"/>
      <dgm:spPr/>
      <dgm:t>
        <a:bodyPr/>
        <a:lstStyle/>
        <a:p>
          <a:r>
            <a:rPr lang="es-CL" sz="1400" b="1" dirty="0" smtClean="0">
              <a:latin typeface="Arial" panose="020B0604020202020204" pitchFamily="34" charset="0"/>
              <a:cs typeface="Arial" panose="020B0604020202020204" pitchFamily="34" charset="0"/>
            </a:rPr>
            <a:t>Administración:</a:t>
          </a:r>
        </a:p>
        <a:p>
          <a:r>
            <a:rPr lang="es-CL" sz="1400" dirty="0" smtClean="0">
              <a:latin typeface="Arial" panose="020B0604020202020204" pitchFamily="34" charset="0"/>
              <a:cs typeface="Arial" panose="020B0604020202020204" pitchFamily="34" charset="0"/>
            </a:rPr>
            <a:t>Incluye procedimientos, planes de mantenimiento preventivo y correctivo de equipos, herramientas y ayudas técnicas, Capacitación. </a:t>
          </a:r>
          <a:endParaRPr lang="es-CL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10AC63-D758-49DC-8F3B-93983511F200}" type="parTrans" cxnId="{15645204-5AA0-4AEE-A7AE-36EABAFC9D25}">
      <dgm:prSet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42540A7-8D28-4C54-B73F-B04BC78346D6}" type="sibTrans" cxnId="{15645204-5AA0-4AEE-A7AE-36EABAFC9D25}">
      <dgm:prSet/>
      <dgm:spPr/>
      <dgm:t>
        <a:bodyPr/>
        <a:lstStyle/>
        <a:p>
          <a:endParaRPr lang="es-CL" sz="1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219CFE-2502-4AFA-AE5D-2500DD04CD97}" type="pres">
      <dgm:prSet presAssocID="{E9ABFABF-D8B6-4B7D-AA11-2F0FF0F094AE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2F0D16AD-AC9A-44CA-8FD2-3C2158C0FBA7}" type="pres">
      <dgm:prSet presAssocID="{E9ABFABF-D8B6-4B7D-AA11-2F0FF0F094AE}" presName="dummyMaxCanvas" presStyleCnt="0">
        <dgm:presLayoutVars/>
      </dgm:prSet>
      <dgm:spPr/>
    </dgm:pt>
    <dgm:pt modelId="{103A4929-E1D5-44EA-923F-3D6179000BDA}" type="pres">
      <dgm:prSet presAssocID="{E9ABFABF-D8B6-4B7D-AA11-2F0FF0F094AE}" presName="ThreeNodes_1" presStyleLbl="node1" presStyleIdx="0" presStyleCnt="3" custLinFactNeighborX="457" custLinFactNeighborY="-493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B61A9D5-F852-442B-8BE1-3B2EE01A65DB}" type="pres">
      <dgm:prSet presAssocID="{E9ABFABF-D8B6-4B7D-AA11-2F0FF0F094AE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477788D-898B-458A-BF44-68B8FDE17DCE}" type="pres">
      <dgm:prSet presAssocID="{E9ABFABF-D8B6-4B7D-AA11-2F0FF0F094AE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E5DC028-8B76-4D23-B0F0-982BAADC8895}" type="pres">
      <dgm:prSet presAssocID="{E9ABFABF-D8B6-4B7D-AA11-2F0FF0F094AE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E959E83-70BB-42C0-8524-2615BAE80A8D}" type="pres">
      <dgm:prSet presAssocID="{E9ABFABF-D8B6-4B7D-AA11-2F0FF0F094AE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4107286-CC0C-4A36-99B8-15A7AA724684}" type="pres">
      <dgm:prSet presAssocID="{E9ABFABF-D8B6-4B7D-AA11-2F0FF0F094AE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72C22AE-8ACB-4067-AE59-86F055D2FB6A}" type="pres">
      <dgm:prSet presAssocID="{E9ABFABF-D8B6-4B7D-AA11-2F0FF0F094AE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85AB8F9-3D98-468A-8649-3E0078538F63}" type="pres">
      <dgm:prSet presAssocID="{E9ABFABF-D8B6-4B7D-AA11-2F0FF0F094AE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EF2EC4BA-63F1-45E2-9ACA-64DF164CBD48}" type="presOf" srcId="{968CE9F6-DB6B-4326-9636-5E397F6071C8}" destId="{F72C22AE-8ACB-4067-AE59-86F055D2FB6A}" srcOrd="1" destOrd="0" presId="urn:microsoft.com/office/officeart/2005/8/layout/vProcess5"/>
    <dgm:cxn modelId="{A052145A-55A6-4DC0-8AC3-B55518C91B8A}" type="presOf" srcId="{245A0238-C6AF-4699-AFFE-5B0683428B43}" destId="{103A4929-E1D5-44EA-923F-3D6179000BDA}" srcOrd="0" destOrd="0" presId="urn:microsoft.com/office/officeart/2005/8/layout/vProcess5"/>
    <dgm:cxn modelId="{D6576616-2290-4ECC-B118-39C1B6FB6E59}" type="presOf" srcId="{9D8F4F4E-E2EC-4968-AFE1-69DE1A0DF5BE}" destId="{5477788D-898B-458A-BF44-68B8FDE17DCE}" srcOrd="0" destOrd="0" presId="urn:microsoft.com/office/officeart/2005/8/layout/vProcess5"/>
    <dgm:cxn modelId="{80715463-EBE2-4502-9D6F-3022D0793E88}" type="presOf" srcId="{0FD7825D-C8B7-451B-A235-82E4EEE56261}" destId="{AE5DC028-8B76-4D23-B0F0-982BAADC8895}" srcOrd="0" destOrd="0" presId="urn:microsoft.com/office/officeart/2005/8/layout/vProcess5"/>
    <dgm:cxn modelId="{A7B21090-F4CB-413E-B45B-B5A2439D6807}" srcId="{E9ABFABF-D8B6-4B7D-AA11-2F0FF0F094AE}" destId="{245A0238-C6AF-4699-AFFE-5B0683428B43}" srcOrd="0" destOrd="0" parTransId="{C59379E9-E64C-446C-A10A-BE2C301680A7}" sibTransId="{0FD7825D-C8B7-451B-A235-82E4EEE56261}"/>
    <dgm:cxn modelId="{00099D51-CB95-49AD-A8FD-696E5DB2654A}" type="presOf" srcId="{245A0238-C6AF-4699-AFFE-5B0683428B43}" destId="{B4107286-CC0C-4A36-99B8-15A7AA724684}" srcOrd="1" destOrd="0" presId="urn:microsoft.com/office/officeart/2005/8/layout/vProcess5"/>
    <dgm:cxn modelId="{5D4F1D79-DE29-4577-B2CE-D1F80D5CF416}" type="presOf" srcId="{9D8F4F4E-E2EC-4968-AFE1-69DE1A0DF5BE}" destId="{285AB8F9-3D98-468A-8649-3E0078538F63}" srcOrd="1" destOrd="0" presId="urn:microsoft.com/office/officeart/2005/8/layout/vProcess5"/>
    <dgm:cxn modelId="{15645204-5AA0-4AEE-A7AE-36EABAFC9D25}" srcId="{E9ABFABF-D8B6-4B7D-AA11-2F0FF0F094AE}" destId="{9D8F4F4E-E2EC-4968-AFE1-69DE1A0DF5BE}" srcOrd="2" destOrd="0" parTransId="{A810AC63-D758-49DC-8F3B-93983511F200}" sibTransId="{442540A7-8D28-4C54-B73F-B04BC78346D6}"/>
    <dgm:cxn modelId="{AA4A006A-CCE7-4AD5-B3B7-9A5D5576A17A}" type="presOf" srcId="{968CE9F6-DB6B-4326-9636-5E397F6071C8}" destId="{3B61A9D5-F852-442B-8BE1-3B2EE01A65DB}" srcOrd="0" destOrd="0" presId="urn:microsoft.com/office/officeart/2005/8/layout/vProcess5"/>
    <dgm:cxn modelId="{63343B5E-2633-4696-A029-51BCF381DA4F}" type="presOf" srcId="{95284E55-3EC4-4EE7-A91B-ED010058ADED}" destId="{1E959E83-70BB-42C0-8524-2615BAE80A8D}" srcOrd="0" destOrd="0" presId="urn:microsoft.com/office/officeart/2005/8/layout/vProcess5"/>
    <dgm:cxn modelId="{3C6A6D36-CFEA-4FC0-87F0-2EA389163A10}" type="presOf" srcId="{E9ABFABF-D8B6-4B7D-AA11-2F0FF0F094AE}" destId="{0B219CFE-2502-4AFA-AE5D-2500DD04CD97}" srcOrd="0" destOrd="0" presId="urn:microsoft.com/office/officeart/2005/8/layout/vProcess5"/>
    <dgm:cxn modelId="{68534FE2-F075-4CD5-A749-E5C435CA05DE}" srcId="{E9ABFABF-D8B6-4B7D-AA11-2F0FF0F094AE}" destId="{968CE9F6-DB6B-4326-9636-5E397F6071C8}" srcOrd="1" destOrd="0" parTransId="{BC802787-9C2A-41F1-B4AF-C39A394B567F}" sibTransId="{95284E55-3EC4-4EE7-A91B-ED010058ADED}"/>
    <dgm:cxn modelId="{B1017379-211A-416B-8AE5-A5FD5F94C44E}" type="presParOf" srcId="{0B219CFE-2502-4AFA-AE5D-2500DD04CD97}" destId="{2F0D16AD-AC9A-44CA-8FD2-3C2158C0FBA7}" srcOrd="0" destOrd="0" presId="urn:microsoft.com/office/officeart/2005/8/layout/vProcess5"/>
    <dgm:cxn modelId="{417B947E-95D1-45BD-947D-73BD64F1F0FA}" type="presParOf" srcId="{0B219CFE-2502-4AFA-AE5D-2500DD04CD97}" destId="{103A4929-E1D5-44EA-923F-3D6179000BDA}" srcOrd="1" destOrd="0" presId="urn:microsoft.com/office/officeart/2005/8/layout/vProcess5"/>
    <dgm:cxn modelId="{D311A178-9BEF-4CAE-A1F2-46AB2CE47EEF}" type="presParOf" srcId="{0B219CFE-2502-4AFA-AE5D-2500DD04CD97}" destId="{3B61A9D5-F852-442B-8BE1-3B2EE01A65DB}" srcOrd="2" destOrd="0" presId="urn:microsoft.com/office/officeart/2005/8/layout/vProcess5"/>
    <dgm:cxn modelId="{94B0B23A-187D-43D3-A28A-2F6798882816}" type="presParOf" srcId="{0B219CFE-2502-4AFA-AE5D-2500DD04CD97}" destId="{5477788D-898B-458A-BF44-68B8FDE17DCE}" srcOrd="3" destOrd="0" presId="urn:microsoft.com/office/officeart/2005/8/layout/vProcess5"/>
    <dgm:cxn modelId="{BF102C77-06C7-49D2-8754-A662851220FA}" type="presParOf" srcId="{0B219CFE-2502-4AFA-AE5D-2500DD04CD97}" destId="{AE5DC028-8B76-4D23-B0F0-982BAADC8895}" srcOrd="4" destOrd="0" presId="urn:microsoft.com/office/officeart/2005/8/layout/vProcess5"/>
    <dgm:cxn modelId="{A10AAB80-2D0D-4B17-8B9C-45A99499EAB4}" type="presParOf" srcId="{0B219CFE-2502-4AFA-AE5D-2500DD04CD97}" destId="{1E959E83-70BB-42C0-8524-2615BAE80A8D}" srcOrd="5" destOrd="0" presId="urn:microsoft.com/office/officeart/2005/8/layout/vProcess5"/>
    <dgm:cxn modelId="{3E410EDC-9270-4FC4-A4AE-E82032D1FC16}" type="presParOf" srcId="{0B219CFE-2502-4AFA-AE5D-2500DD04CD97}" destId="{B4107286-CC0C-4A36-99B8-15A7AA724684}" srcOrd="6" destOrd="0" presId="urn:microsoft.com/office/officeart/2005/8/layout/vProcess5"/>
    <dgm:cxn modelId="{10AB318D-DA44-41E0-8873-853F35E4A390}" type="presParOf" srcId="{0B219CFE-2502-4AFA-AE5D-2500DD04CD97}" destId="{F72C22AE-8ACB-4067-AE59-86F055D2FB6A}" srcOrd="7" destOrd="0" presId="urn:microsoft.com/office/officeart/2005/8/layout/vProcess5"/>
    <dgm:cxn modelId="{AA3BACFE-CDB1-4CE3-8D87-4FB5F2125388}" type="presParOf" srcId="{0B219CFE-2502-4AFA-AE5D-2500DD04CD97}" destId="{285AB8F9-3D98-468A-8649-3E0078538F63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A4929-E1D5-44EA-923F-3D6179000BDA}">
      <dsp:nvSpPr>
        <dsp:cNvPr id="0" name=""/>
        <dsp:cNvSpPr/>
      </dsp:nvSpPr>
      <dsp:spPr>
        <a:xfrm>
          <a:off x="23216" y="0"/>
          <a:ext cx="5080164" cy="9937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liminación: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Medidas o soluciones que eliminen la tarea de MMC/MMP. Ej. Mecanizar tarea. </a:t>
          </a:r>
          <a:endParaRPr lang="es-CL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2321" y="29105"/>
        <a:ext cx="4007872" cy="935500"/>
      </dsp:txXfrm>
    </dsp:sp>
    <dsp:sp modelId="{3B61A9D5-F852-442B-8BE1-3B2EE01A65DB}">
      <dsp:nvSpPr>
        <dsp:cNvPr id="0" name=""/>
        <dsp:cNvSpPr/>
      </dsp:nvSpPr>
      <dsp:spPr>
        <a:xfrm>
          <a:off x="448249" y="1159328"/>
          <a:ext cx="5080164" cy="9937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Mitigación: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Intervención de alguno de los factores de riesgo por uno menos riesgoso. Ej. Reducir el peso. </a:t>
          </a:r>
          <a:endParaRPr lang="es-CL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7354" y="1188433"/>
        <a:ext cx="3927792" cy="935500"/>
      </dsp:txXfrm>
    </dsp:sp>
    <dsp:sp modelId="{5477788D-898B-458A-BF44-68B8FDE17DCE}">
      <dsp:nvSpPr>
        <dsp:cNvPr id="0" name=""/>
        <dsp:cNvSpPr/>
      </dsp:nvSpPr>
      <dsp:spPr>
        <a:xfrm>
          <a:off x="896499" y="2318657"/>
          <a:ext cx="5080164" cy="9937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Administración: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Incluye procedimientos, planes de mantenimiento preventivo y correctivo de equipos, herramientas y ayudas técnicas, Capacitación. </a:t>
          </a:r>
          <a:endParaRPr lang="es-CL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25604" y="2347762"/>
        <a:ext cx="3927792" cy="935500"/>
      </dsp:txXfrm>
    </dsp:sp>
    <dsp:sp modelId="{AE5DC028-8B76-4D23-B0F0-982BAADC8895}">
      <dsp:nvSpPr>
        <dsp:cNvPr id="0" name=""/>
        <dsp:cNvSpPr/>
      </dsp:nvSpPr>
      <dsp:spPr>
        <a:xfrm>
          <a:off x="4434252" y="753563"/>
          <a:ext cx="645911" cy="645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79582" y="753563"/>
        <a:ext cx="355251" cy="486048"/>
      </dsp:txXfrm>
    </dsp:sp>
    <dsp:sp modelId="{1E959E83-70BB-42C0-8524-2615BAE80A8D}">
      <dsp:nvSpPr>
        <dsp:cNvPr id="0" name=""/>
        <dsp:cNvSpPr/>
      </dsp:nvSpPr>
      <dsp:spPr>
        <a:xfrm>
          <a:off x="4882502" y="1906267"/>
          <a:ext cx="645911" cy="645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027832" y="1906267"/>
        <a:ext cx="355251" cy="4860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341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6B3FB-252C-420C-A562-EA677B9716E4}" type="datetimeFigureOut">
              <a:rPr lang="es-CL" smtClean="0"/>
              <a:t>26-03-2018</a:t>
            </a:fld>
            <a:endParaRPr lang="es-CL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3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341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C10BB9-0B97-427E-BEE9-A59B1705FF4C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987756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51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51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F920E7-9BD1-4099-8EFC-CC85620D8CE6}" type="datetimeFigureOut">
              <a:rPr lang="es-CL" smtClean="0"/>
              <a:t>26-03-2018</a:t>
            </a:fld>
            <a:endParaRPr lang="es-CL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0714" y="4415605"/>
            <a:ext cx="5608975" cy="41837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725"/>
            <a:ext cx="3038604" cy="4651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159" y="8829725"/>
            <a:ext cx="3038604" cy="4651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854420-A90A-4C03-83E5-C1E914AB2D9F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66333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09964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011205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785054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9592760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791355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2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973808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3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3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26095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446504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 smtClean="0"/>
              <a:t>Marco conceptual que queremos que ocurra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54420-A90A-4C03-83E5-C1E914AB2D9F}" type="slidenum">
              <a:rPr lang="es-CL" smtClean="0"/>
              <a:t>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28154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15.xml"/><Relationship Id="rId9" Type="http://schemas.openxmlformats.org/officeDocument/2006/relationships/image" Target="../media/image8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4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995936" y="4581128"/>
            <a:ext cx="4104456" cy="108012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1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95936" y="6165304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</a:t>
            </a:r>
            <a:r>
              <a:rPr lang="es-ES" dirty="0" smtClean="0"/>
              <a:t>agregar fecha</a:t>
            </a:r>
            <a:endParaRPr lang="es-CL" dirty="0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3747922" y="4581128"/>
            <a:ext cx="0" cy="2281733"/>
          </a:xfrm>
          <a:prstGeom prst="line">
            <a:avLst/>
          </a:prstGeom>
          <a:ln w="6350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Imagen 8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1760" y="4581128"/>
            <a:ext cx="1224136" cy="1224136"/>
          </a:xfrm>
          <a:prstGeom prst="rect">
            <a:avLst/>
          </a:prstGeom>
        </p:spPr>
      </p:pic>
      <p:pic>
        <p:nvPicPr>
          <p:cNvPr id="27547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60648"/>
            <a:ext cx="1592571" cy="1592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223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3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BajaRETOQUE ACHS FORESTAL.jpg"/>
          <p:cNvPicPr>
            <a:picLocks noChangeAspect="1"/>
          </p:cNvPicPr>
          <p:nvPr userDrawn="1"/>
        </p:nvPicPr>
        <p:blipFill rotWithShape="1">
          <a:blip r:embed="rId8" cstate="screen">
            <a:alphaModFix amt="2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644008" cy="6858000"/>
          </a:xfrm>
          <a:prstGeom prst="rect">
            <a:avLst/>
          </a:prstGeom>
        </p:spPr>
      </p:pic>
      <p:sp>
        <p:nvSpPr>
          <p:cNvPr id="14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5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</a:t>
            </a:r>
            <a:r>
              <a:rPr lang="es-ES" dirty="0" smtClean="0"/>
              <a:t>agregar fecha</a:t>
            </a:r>
            <a:endParaRPr lang="es-CL" dirty="0"/>
          </a:p>
        </p:txBody>
      </p:sp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352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8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SOLDADOR 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8" y="2"/>
            <a:ext cx="4655334" cy="6857998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</a:t>
            </a:r>
            <a:r>
              <a:rPr lang="es-ES" dirty="0" smtClean="0"/>
              <a:t>agregar fecha</a:t>
            </a:r>
            <a:endParaRPr lang="es-CL" dirty="0"/>
          </a:p>
        </p:txBody>
      </p:sp>
      <p:pic>
        <p:nvPicPr>
          <p:cNvPr id="11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617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9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8" name="Imagen 7" descr="shutterstock_40065788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954"/>
            <a:ext cx="4642728" cy="685704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</a:t>
            </a:r>
            <a:r>
              <a:rPr lang="es-ES" dirty="0" smtClean="0"/>
              <a:t>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943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1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 descr="logo achs 300x300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416" y="188640"/>
            <a:ext cx="624548" cy="624548"/>
          </a:xfrm>
          <a:prstGeom prst="rect">
            <a:avLst/>
          </a:prstGeom>
        </p:spPr>
      </p:pic>
      <p:pic>
        <p:nvPicPr>
          <p:cNvPr id="7" name="Imagen 6" descr="PANADERIA-2.jpg"/>
          <p:cNvPicPr>
            <a:picLocks noChangeAspect="1"/>
          </p:cNvPicPr>
          <p:nvPr userDrawn="1"/>
        </p:nvPicPr>
        <p:blipFill rotWithShape="1">
          <a:blip r:embed="rId9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" y="4814"/>
            <a:ext cx="4646384" cy="6853186"/>
          </a:xfrm>
          <a:prstGeom prst="rect">
            <a:avLst/>
          </a:prstGeom>
        </p:spPr>
      </p:pic>
      <p:sp>
        <p:nvSpPr>
          <p:cNvPr id="16" name="1 Título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788024" y="4221668"/>
            <a:ext cx="4104456" cy="11515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FontTx/>
              <a:buNone/>
              <a:defRPr lang="es-CL" sz="2400" b="0" cap="none">
                <a:solidFill>
                  <a:srgbClr val="195A28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18" name="2 Subtítulo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788024" y="6021868"/>
            <a:ext cx="4104456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buNone/>
              <a:defRPr lang="es-CL" sz="1400" b="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pPr marL="0" lvl="0" indent="0">
              <a:spcBef>
                <a:spcPct val="0"/>
              </a:spcBef>
            </a:pPr>
            <a:r>
              <a:rPr lang="es-ES" dirty="0"/>
              <a:t>Haga clic para </a:t>
            </a:r>
            <a:r>
              <a:rPr lang="es-ES" dirty="0" smtClean="0"/>
              <a:t>agregar fecha</a:t>
            </a:r>
            <a:endParaRPr lang="es-CL" dirty="0"/>
          </a:p>
        </p:txBody>
      </p:sp>
      <p:pic>
        <p:nvPicPr>
          <p:cNvPr id="10" name="D1EC7014-9162-46A6-93E0-0E1D15A532F9" descr="13FB9395-00A5-40E3-AB42-2D6CC0B4287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16632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3663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40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2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 smtClean="0"/>
              <a:t>Haga clic para modificar estilo de título del patrón</a:t>
            </a:r>
            <a:endParaRPr lang="es-CL" altLang="es-CL" dirty="0" smtClean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  <p:cxnSp>
        <p:nvCxnSpPr>
          <p:cNvPr id="13" name="Conector recto 12"/>
          <p:cNvCxnSpPr/>
          <p:nvPr userDrawn="1"/>
        </p:nvCxnSpPr>
        <p:spPr>
          <a:xfrm>
            <a:off x="395536" y="792322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 userDrawn="1"/>
        </p:nvCxnSpPr>
        <p:spPr>
          <a:xfrm>
            <a:off x="395536" y="6416840"/>
            <a:ext cx="8568000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087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16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56" name="Diapositiva de think-cell" r:id="rId4" imgW="530" imgH="531" progId="TCLayout.ActiveDocument.1">
                  <p:embed/>
                </p:oleObj>
              </mc:Choice>
              <mc:Fallback>
                <p:oleObj name="Diapositiva de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/>
            </a:lvl1pPr>
          </a:lstStyle>
          <a:p>
            <a:pPr lvl="0" algn="l"/>
            <a:r>
              <a:rPr lang="es-ES" altLang="es-CL" dirty="0" smtClean="0"/>
              <a:t>Haga clic para modificar estilo de título del patrón</a:t>
            </a:r>
            <a:endParaRPr lang="es-CL" altLang="es-CL" dirty="0" smtClean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640488" y="6587480"/>
            <a:ext cx="324000" cy="15388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95536" y="6587480"/>
            <a:ext cx="79928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64444" indent="-564444" defTabSz="922451">
              <a:tabLst>
                <a:tab pos="535870" algn="r"/>
              </a:tabLst>
            </a:pPr>
            <a:endParaRPr dirty="0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432" y="116632"/>
            <a:ext cx="536665" cy="53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60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2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Captura de pantalla 2017-03-24 a las 2.52.06 p.m.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49" t="12315" r="2959" b="7232"/>
          <a:stretch/>
        </p:blipFill>
        <p:spPr>
          <a:xfrm>
            <a:off x="3563888" y="2561124"/>
            <a:ext cx="2011338" cy="1587956"/>
          </a:xfrm>
          <a:prstGeom prst="rect">
            <a:avLst/>
          </a:prstGeom>
        </p:spPr>
      </p:pic>
      <p:cxnSp>
        <p:nvCxnSpPr>
          <p:cNvPr id="11" name="Conector recto 10"/>
          <p:cNvCxnSpPr/>
          <p:nvPr userDrawn="1"/>
        </p:nvCxnSpPr>
        <p:spPr>
          <a:xfrm>
            <a:off x="350162" y="6309320"/>
            <a:ext cx="8424936" cy="0"/>
          </a:xfrm>
          <a:prstGeom prst="line">
            <a:avLst/>
          </a:prstGeom>
          <a:ln w="9525" cmpd="sng">
            <a:solidFill>
              <a:srgbClr val="428D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70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188529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14" name="Diapositiva de think-cell" r:id="rId13" imgW="270" imgH="270" progId="TCLayout.ActiveDocument.1">
                  <p:embed/>
                </p:oleObj>
              </mc:Choice>
              <mc:Fallback>
                <p:oleObj name="Diapositiva de think-cell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4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64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3" r:id="rId2"/>
    <p:sldLayoutId id="2147483737" r:id="rId3"/>
    <p:sldLayoutId id="2147483738" r:id="rId4"/>
    <p:sldLayoutId id="2147483739" r:id="rId5"/>
    <p:sldLayoutId id="2147483734" r:id="rId6"/>
    <p:sldLayoutId id="2147483741" r:id="rId7"/>
    <p:sldLayoutId id="214748373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s-CL" altLang="es-CL" sz="2000" b="1" kern="1200" cap="all" baseline="0" smtClean="0">
          <a:solidFill>
            <a:srgbClr val="195A28"/>
          </a:solidFill>
          <a:latin typeface="Arial" charset="0"/>
          <a:ea typeface="+mj-ea"/>
          <a:cs typeface="Arial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20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s-ES" altLang="es-CL" sz="16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s-ES" altLang="es-CL" sz="1400" kern="1200" smtClean="0">
          <a:solidFill>
            <a:schemeClr val="bg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lang="es-CL" altLang="es-CL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995936" y="6165304"/>
            <a:ext cx="4104456" cy="215444"/>
          </a:xfrm>
        </p:spPr>
        <p:txBody>
          <a:bodyPr/>
          <a:lstStyle/>
          <a:p>
            <a:r>
              <a:rPr lang="es-CL" dirty="0" smtClean="0"/>
              <a:t>Marzo 2018</a:t>
            </a:r>
            <a:endParaRPr lang="es-CL" dirty="0"/>
          </a:p>
        </p:txBody>
      </p:sp>
      <p:sp>
        <p:nvSpPr>
          <p:cNvPr id="6" name="Título 1"/>
          <p:cNvSpPr>
            <a:spLocks noGrp="1"/>
          </p:cNvSpPr>
          <p:nvPr>
            <p:ph type="ctrTitle"/>
          </p:nvPr>
        </p:nvSpPr>
        <p:spPr>
          <a:xfrm>
            <a:off x="3995936" y="4581128"/>
            <a:ext cx="4824536" cy="720080"/>
          </a:xfrm>
        </p:spPr>
        <p:txBody>
          <a:bodyPr/>
          <a:lstStyle/>
          <a:p>
            <a:r>
              <a:rPr lang="es-CL" dirty="0" smtClean="0"/>
              <a:t>Actualización Guía Técnica de MMC. DS N°63/Ley N°20.949 </a:t>
            </a:r>
            <a:endParaRPr lang="es-CL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3995936" y="5589240"/>
            <a:ext cx="4896544" cy="2154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s-CL" altLang="es-CL" sz="1400" b="0" kern="1200" cap="none" baseline="0" dirty="0">
                <a:solidFill>
                  <a:schemeClr val="bg1">
                    <a:lumMod val="65000"/>
                  </a:schemeClr>
                </a:solidFill>
                <a:latin typeface="Arial" charset="0"/>
                <a:ea typeface="+mj-ea"/>
                <a:cs typeface="Arial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s-ES" altLang="es-CL" sz="20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lang="es-ES" altLang="es-CL" sz="16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s-ES" altLang="es-CL" sz="1400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lang="es-CL" altLang="es-CL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dirty="0" smtClean="0"/>
              <a:t>Rodrigo Pinto Retamal. Especialista Sénior Ergonomí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4278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358306" y="1220280"/>
            <a:ext cx="639015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400" dirty="0" smtClean="0"/>
              <a:t>Corresponderá </a:t>
            </a:r>
            <a:r>
              <a:rPr lang="es-CL" sz="1400" b="1" dirty="0"/>
              <a:t>a la Dirección del Trabajo y demás entidades fiscalizadoras</a:t>
            </a:r>
            <a:r>
              <a:rPr lang="es-CL" sz="1400" dirty="0"/>
              <a:t>, </a:t>
            </a:r>
            <a:r>
              <a:rPr lang="es-CL" sz="1400" dirty="0" smtClean="0"/>
              <a:t>según su </a:t>
            </a:r>
            <a:r>
              <a:rPr lang="es-CL" sz="1400" dirty="0"/>
              <a:t>ámbito de competencias, entre ellas las </a:t>
            </a:r>
            <a:r>
              <a:rPr lang="es-CL" sz="1400" b="1" dirty="0"/>
              <a:t>Secretarías Regionales Ministeriales de Salud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358306" y="2737610"/>
            <a:ext cx="650808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400" dirty="0" smtClean="0"/>
              <a:t>Se </a:t>
            </a:r>
            <a:r>
              <a:rPr lang="es-CL" sz="1400" dirty="0"/>
              <a:t>exigirá </a:t>
            </a:r>
            <a:r>
              <a:rPr lang="es-CL" sz="1400" b="1" dirty="0"/>
              <a:t>a las empresas contar con un programa de gestión de los riesgos de MMC y MMP </a:t>
            </a:r>
            <a:r>
              <a:rPr lang="es-CL" sz="1400" b="1" dirty="0" smtClean="0"/>
              <a:t>que contenga</a:t>
            </a:r>
            <a:r>
              <a:rPr lang="es-CL" sz="1400" b="1" dirty="0"/>
              <a:t>, al menos, la identificación de los puestos de trabajo, el número de trabajadores </a:t>
            </a:r>
            <a:r>
              <a:rPr lang="es-CL" sz="1400" b="1" dirty="0" smtClean="0"/>
              <a:t>involucrados diferenciados </a:t>
            </a:r>
            <a:r>
              <a:rPr lang="es-CL" sz="1400" b="1" dirty="0"/>
              <a:t>por sexo, la identificación de peligros, la evaluación de los riesgos asociados al </a:t>
            </a:r>
            <a:r>
              <a:rPr lang="es-CL" sz="1400" b="1" dirty="0" smtClean="0"/>
              <a:t>MMC/ MMP</a:t>
            </a:r>
            <a:r>
              <a:rPr lang="es-CL" sz="1400" b="1" dirty="0"/>
              <a:t>, el resultado de las evaluaciones, las medidas preventivas y correctivas correspondientes y </a:t>
            </a:r>
            <a:r>
              <a:rPr lang="es-CL" sz="1400" b="1" dirty="0" smtClean="0"/>
              <a:t>las correcciones </a:t>
            </a:r>
            <a:r>
              <a:rPr lang="es-CL" sz="1400" b="1" dirty="0"/>
              <a:t>a la situación de trabajo de acuerdo con el nivel de </a:t>
            </a:r>
            <a:r>
              <a:rPr lang="es-CL" sz="1400" b="1" dirty="0" smtClean="0"/>
              <a:t>riesgo.</a:t>
            </a:r>
            <a:endParaRPr lang="es-CL" sz="1400" b="1" dirty="0"/>
          </a:p>
        </p:txBody>
      </p:sp>
      <p:sp>
        <p:nvSpPr>
          <p:cNvPr id="8" name="Título 4"/>
          <p:cNvSpPr txBox="1">
            <a:spLocks/>
          </p:cNvSpPr>
          <p:nvPr/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s-CL" altLang="es-CL" sz="2000" b="1" kern="1200" cap="all" baseline="0">
                <a:solidFill>
                  <a:srgbClr val="195A28"/>
                </a:solidFill>
                <a:latin typeface="Arial" charset="0"/>
                <a:ea typeface="+mj-ea"/>
                <a:cs typeface="Arial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L" dirty="0" smtClean="0"/>
              <a:t>fiscalización</a:t>
            </a:r>
            <a:endParaRPr lang="es-CL" dirty="0"/>
          </a:p>
        </p:txBody>
      </p:sp>
      <p:sp>
        <p:nvSpPr>
          <p:cNvPr id="9" name="Pentágono 8"/>
          <p:cNvSpPr/>
          <p:nvPr/>
        </p:nvSpPr>
        <p:spPr>
          <a:xfrm>
            <a:off x="395535" y="1220280"/>
            <a:ext cx="1944217" cy="912576"/>
          </a:xfrm>
          <a:prstGeom prst="homePlate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600" b="1" dirty="0" smtClean="0">
                <a:latin typeface="Arial" pitchFamily="34" charset="0"/>
                <a:cs typeface="Arial" pitchFamily="34" charset="0"/>
              </a:rPr>
              <a:t>¿Quién?</a:t>
            </a:r>
            <a:endParaRPr lang="es-CL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Pentágono 9"/>
          <p:cNvSpPr/>
          <p:nvPr/>
        </p:nvSpPr>
        <p:spPr>
          <a:xfrm>
            <a:off x="395534" y="2737610"/>
            <a:ext cx="1944217" cy="912576"/>
          </a:xfrm>
          <a:prstGeom prst="homePlate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s-CL" sz="1600" b="1" dirty="0" smtClean="0">
                <a:latin typeface="Arial" pitchFamily="34" charset="0"/>
                <a:cs typeface="Arial" pitchFamily="34" charset="0"/>
              </a:rPr>
              <a:t>¿Qué se fiscalizará?</a:t>
            </a:r>
            <a:endParaRPr lang="es-CL" sz="16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09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95534" y="980728"/>
            <a:ext cx="8334375" cy="523220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dirty="0"/>
              <a:t>Los OAL </a:t>
            </a:r>
            <a:r>
              <a:rPr lang="es-CL" b="1" dirty="0"/>
              <a:t>deben evaluar la gestión en estas materias, verificando el cumplimiento por parte de </a:t>
            </a:r>
            <a:r>
              <a:rPr lang="es-CL" b="1" dirty="0" smtClean="0"/>
              <a:t>las empresas</a:t>
            </a:r>
            <a:r>
              <a:rPr lang="es-CL" dirty="0" smtClean="0"/>
              <a:t> </a:t>
            </a:r>
            <a:r>
              <a:rPr lang="es-CL" dirty="0"/>
              <a:t>a través de</a:t>
            </a:r>
            <a:r>
              <a:rPr lang="es-CL" dirty="0" smtClean="0"/>
              <a:t>:</a:t>
            </a:r>
          </a:p>
          <a:p>
            <a:pPr algn="just" eaLnBrk="1" hangingPunct="1"/>
            <a:endParaRPr lang="es-CL" dirty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La </a:t>
            </a:r>
            <a:r>
              <a:rPr lang="es-CL" sz="1400" dirty="0"/>
              <a:t>existencia de un Programa de Gestión de Riesgos MMC/MMP, con sus responsables, plazos </a:t>
            </a:r>
            <a:r>
              <a:rPr lang="es-CL" sz="1400" dirty="0" smtClean="0"/>
              <a:t>y verificación </a:t>
            </a:r>
            <a:r>
              <a:rPr lang="es-CL" sz="1400" dirty="0"/>
              <a:t>del cumplimiento de las </a:t>
            </a:r>
            <a:r>
              <a:rPr lang="es-CL" sz="1400" dirty="0" smtClean="0"/>
              <a:t>actividades.</a:t>
            </a:r>
          </a:p>
          <a:p>
            <a:pPr algn="just" eaLnBrk="1" hangingPunct="1"/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Documentación </a:t>
            </a:r>
            <a:r>
              <a:rPr lang="es-CL" sz="1400" dirty="0"/>
              <a:t>correspondiente a la aplicación de la Etapa de Identificación de los Factores </a:t>
            </a:r>
            <a:r>
              <a:rPr lang="es-CL" sz="1400" dirty="0" smtClean="0"/>
              <a:t>de Riesgo </a:t>
            </a:r>
            <a:r>
              <a:rPr lang="es-CL" sz="1400" dirty="0"/>
              <a:t>(Inicial y Avanzada) de todos los puestos de trabajo y sus resultados: Condición </a:t>
            </a:r>
            <a:r>
              <a:rPr lang="es-CL" sz="1400" dirty="0" smtClean="0"/>
              <a:t>Aceptable; Condición </a:t>
            </a:r>
            <a:r>
              <a:rPr lang="es-CL" sz="1400" dirty="0"/>
              <a:t>Crítica; Presencia de Factor de Riesgo No </a:t>
            </a:r>
            <a:r>
              <a:rPr lang="es-CL" sz="1400" dirty="0" smtClean="0"/>
              <a:t>crítico.</a:t>
            </a:r>
          </a:p>
          <a:p>
            <a:pPr marL="285750" indent="-285750" algn="just" eaLnBrk="1" hangingPunct="1">
              <a:buFontTx/>
              <a:buChar char="-"/>
            </a:pPr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Verificación </a:t>
            </a:r>
            <a:r>
              <a:rPr lang="es-CL" sz="1400" dirty="0"/>
              <a:t>de implementación de medidas para eliminación y/o mitigación de todas </a:t>
            </a:r>
            <a:r>
              <a:rPr lang="es-CL" sz="1400" dirty="0" smtClean="0"/>
              <a:t>aquellas condiciones </a:t>
            </a:r>
            <a:r>
              <a:rPr lang="es-CL" sz="1400" dirty="0"/>
              <a:t>críticas resultantes de la Etapa </a:t>
            </a:r>
            <a:r>
              <a:rPr lang="es-CL" sz="1400" dirty="0" smtClean="0"/>
              <a:t>Identificación.</a:t>
            </a:r>
          </a:p>
          <a:p>
            <a:pPr algn="just" eaLnBrk="1" hangingPunct="1"/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Re-aplicación </a:t>
            </a:r>
            <a:r>
              <a:rPr lang="es-CL" sz="1400" dirty="0"/>
              <a:t>de la Etapa de Identificación Avanzada, para comprobar los resultados de la o </a:t>
            </a:r>
            <a:r>
              <a:rPr lang="es-CL" sz="1400" dirty="0" smtClean="0"/>
              <a:t>las intervenciones.</a:t>
            </a:r>
          </a:p>
          <a:p>
            <a:pPr algn="just" eaLnBrk="1" hangingPunct="1"/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Verificación </a:t>
            </a:r>
            <a:r>
              <a:rPr lang="es-CL" sz="1400" dirty="0"/>
              <a:t>de la Evaluación de los riesgos, en los casos que corresponda (condición crítica </a:t>
            </a:r>
            <a:r>
              <a:rPr lang="es-CL" sz="1400" dirty="0" smtClean="0"/>
              <a:t>no resuelta </a:t>
            </a:r>
            <a:r>
              <a:rPr lang="es-CL" sz="1400" dirty="0"/>
              <a:t>y presencia de factor de riesgo no crítico</a:t>
            </a:r>
            <a:r>
              <a:rPr lang="es-CL" sz="1400" dirty="0" smtClean="0"/>
              <a:t>).</a:t>
            </a:r>
          </a:p>
          <a:p>
            <a:pPr algn="just" eaLnBrk="1" hangingPunct="1"/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Verificación </a:t>
            </a:r>
            <a:r>
              <a:rPr lang="es-CL" sz="1400" dirty="0"/>
              <a:t>de implementación de medidas para eliminación y/o mitigación de los riesgos </a:t>
            </a:r>
            <a:r>
              <a:rPr lang="es-CL" sz="1400" dirty="0" smtClean="0"/>
              <a:t>no aceptables resultantes.</a:t>
            </a:r>
          </a:p>
          <a:p>
            <a:pPr algn="just" eaLnBrk="1" hangingPunct="1"/>
            <a:endParaRPr lang="es-CL" sz="1400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s-CL" sz="1400" dirty="0" smtClean="0"/>
              <a:t>Resultados </a:t>
            </a:r>
            <a:r>
              <a:rPr lang="es-CL" sz="1400" dirty="0"/>
              <a:t>de la Reevaluación (evaluación de la efectividad de las medidas correctivas).</a:t>
            </a:r>
          </a:p>
        </p:txBody>
      </p:sp>
      <p:sp>
        <p:nvSpPr>
          <p:cNvPr id="7" name="Título 4"/>
          <p:cNvSpPr txBox="1">
            <a:spLocks/>
          </p:cNvSpPr>
          <p:nvPr/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s-CL" altLang="es-CL" sz="2000" b="1" kern="1200" cap="all" baseline="0">
                <a:solidFill>
                  <a:srgbClr val="195A28"/>
                </a:solidFill>
                <a:latin typeface="Arial" charset="0"/>
                <a:ea typeface="+mj-ea"/>
                <a:cs typeface="Arial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L" dirty="0" smtClean="0"/>
              <a:t>Rol Achs en control de la gestión del riesg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76505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26" y="880145"/>
            <a:ext cx="7405964" cy="5433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ítulo 4"/>
          <p:cNvSpPr txBox="1">
            <a:spLocks/>
          </p:cNvSpPr>
          <p:nvPr/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s-CL" altLang="es-CL" sz="2000" b="1" kern="1200" cap="all" baseline="0">
                <a:solidFill>
                  <a:srgbClr val="195A28"/>
                </a:solidFill>
                <a:latin typeface="Arial" charset="0"/>
                <a:ea typeface="+mj-ea"/>
                <a:cs typeface="Arial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L" dirty="0" smtClean="0"/>
              <a:t>Proceso de implementación ACH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0843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2857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196752"/>
            <a:ext cx="6048672" cy="3812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539552" y="5304976"/>
            <a:ext cx="8334375" cy="5847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Calibri" pitchFamily="34" charset="0"/>
              </a:rPr>
              <a:t>Se cuenta con un plazo de 30 días para ejecutar esta etapa/ 90 días empresas grandes.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>
                <a:latin typeface="Calibri" pitchFamily="34" charset="0"/>
              </a:rPr>
              <a:t>Se basa en la Norma ISO TR 12295/2014 </a:t>
            </a:r>
            <a:endParaRPr lang="es-CL" sz="1600" dirty="0">
              <a:latin typeface="Calibri" pitchFamily="34" charset="0"/>
            </a:endParaRPr>
          </a:p>
        </p:txBody>
      </p:sp>
      <p:sp>
        <p:nvSpPr>
          <p:cNvPr id="7" name="Título 4"/>
          <p:cNvSpPr txBox="1">
            <a:spLocks/>
          </p:cNvSpPr>
          <p:nvPr/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s-CL" altLang="es-CL" sz="2000" b="1" kern="1200" cap="all" baseline="0">
                <a:solidFill>
                  <a:srgbClr val="195A28"/>
                </a:solidFill>
                <a:latin typeface="Arial" charset="0"/>
                <a:ea typeface="+mj-ea"/>
                <a:cs typeface="Arial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L" dirty="0" smtClean="0"/>
              <a:t>Etapa de identificación inicial y avanzad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795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2867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58"/>
          <a:stretch/>
        </p:blipFill>
        <p:spPr bwMode="auto">
          <a:xfrm>
            <a:off x="1547664" y="1303399"/>
            <a:ext cx="5841416" cy="4132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475868" y="5531477"/>
            <a:ext cx="8334375" cy="83099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/>
              <a:t>Contar con un listado de puestos de trabajo de la empresa.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/>
              <a:t>Determinar las tareas de MMC/MMP realizadas en cada puesto y su duración.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/>
              <a:t>Identificar el número de trabajadores que realizan cada tarea, sexo y rango de edades.</a:t>
            </a:r>
            <a:endParaRPr lang="es-CL" sz="1600" dirty="0"/>
          </a:p>
        </p:txBody>
      </p:sp>
      <p:sp>
        <p:nvSpPr>
          <p:cNvPr id="9" name="8 CuadroTexto"/>
          <p:cNvSpPr txBox="1"/>
          <p:nvPr/>
        </p:nvSpPr>
        <p:spPr>
          <a:xfrm>
            <a:off x="440122" y="868206"/>
            <a:ext cx="8334375" cy="338554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600" b="1" dirty="0" smtClean="0"/>
              <a:t>IDENTIFICACIÓN INICIAL (Caracterización): </a:t>
            </a: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inicial y avanzad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7636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40122" y="782481"/>
            <a:ext cx="8334375" cy="338554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600" b="1" dirty="0" smtClean="0"/>
              <a:t>Levantamiento de Tareas MMC: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325740" y="5913049"/>
            <a:ext cx="8334375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400" dirty="0" smtClean="0"/>
              <a:t>Definir en el desglose de tareas el tipo de actividad de MMC: </a:t>
            </a:r>
            <a:r>
              <a:rPr lang="es-CL" sz="1400" b="1" dirty="0" smtClean="0"/>
              <a:t>Levantamiento Descenso – Transporte o Empuje-arrastre. </a:t>
            </a:r>
            <a:endParaRPr lang="es-CL" sz="1400" b="1" dirty="0"/>
          </a:p>
        </p:txBody>
      </p:sp>
      <p:pic>
        <p:nvPicPr>
          <p:cNvPr id="281604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75" t="18908" r="26762" b="19929"/>
          <a:stretch/>
        </p:blipFill>
        <p:spPr bwMode="auto">
          <a:xfrm>
            <a:off x="2195736" y="1288182"/>
            <a:ext cx="4320480" cy="454016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inicial y avanzad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99177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40122" y="868206"/>
            <a:ext cx="8334375" cy="30777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400" b="1" dirty="0" smtClean="0"/>
              <a:t>IDENTIFICACIÓN INICIAL: </a:t>
            </a:r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722" y="5301208"/>
            <a:ext cx="4212468" cy="1046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26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84" t="30135" r="26732" b="30116"/>
          <a:stretch/>
        </p:blipFill>
        <p:spPr bwMode="auto">
          <a:xfrm>
            <a:off x="1475656" y="1412776"/>
            <a:ext cx="5400600" cy="371038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inicial y avanzad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6783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483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avanzada - moderada</a:t>
            </a:r>
            <a:endParaRPr lang="es-CL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24" t="18485" r="18909" b="17410"/>
          <a:stretch/>
        </p:blipFill>
        <p:spPr bwMode="auto">
          <a:xfrm>
            <a:off x="428115" y="1133912"/>
            <a:ext cx="5040560" cy="415812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9" t="21054" r="18956" b="17362"/>
          <a:stretch/>
        </p:blipFill>
        <p:spPr bwMode="auto">
          <a:xfrm>
            <a:off x="2175718" y="1894404"/>
            <a:ext cx="5440636" cy="43000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1 Rectángulo"/>
          <p:cNvSpPr/>
          <p:nvPr/>
        </p:nvSpPr>
        <p:spPr>
          <a:xfrm>
            <a:off x="2267744" y="3206128"/>
            <a:ext cx="5256584" cy="294880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1" y="5805264"/>
            <a:ext cx="4155459" cy="897523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606531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avanzada – condición crítica</a:t>
            </a:r>
            <a:endParaRPr lang="es-CL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5414147"/>
            <a:ext cx="4182788" cy="94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8648" y="866464"/>
            <a:ext cx="4582972" cy="4332474"/>
          </a:xfrm>
          <a:prstGeom prst="rect">
            <a:avLst/>
          </a:prstGeom>
        </p:spPr>
      </p:pic>
      <p:sp>
        <p:nvSpPr>
          <p:cNvPr id="9" name="1 Rectángulo"/>
          <p:cNvSpPr/>
          <p:nvPr/>
        </p:nvSpPr>
        <p:spPr>
          <a:xfrm>
            <a:off x="678992" y="1837500"/>
            <a:ext cx="3960440" cy="196385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1 Rectángulo"/>
          <p:cNvSpPr/>
          <p:nvPr/>
        </p:nvSpPr>
        <p:spPr>
          <a:xfrm>
            <a:off x="747584" y="4149080"/>
            <a:ext cx="3865560" cy="288032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1 Rectángulo"/>
          <p:cNvSpPr/>
          <p:nvPr/>
        </p:nvSpPr>
        <p:spPr>
          <a:xfrm>
            <a:off x="796720" y="4594072"/>
            <a:ext cx="3816424" cy="288032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1 Rectángulo"/>
          <p:cNvSpPr/>
          <p:nvPr/>
        </p:nvSpPr>
        <p:spPr>
          <a:xfrm>
            <a:off x="788728" y="4941168"/>
            <a:ext cx="3816424" cy="228018"/>
          </a:xfrm>
          <a:prstGeom prst="rect">
            <a:avLst/>
          </a:prstGeom>
          <a:noFill/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Imagen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20008" y="1246114"/>
            <a:ext cx="4149598" cy="39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55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dentificación avanzada – medidas de control</a:t>
            </a:r>
            <a:endParaRPr lang="es-CL" dirty="0"/>
          </a:p>
        </p:txBody>
      </p:sp>
      <p:pic>
        <p:nvPicPr>
          <p:cNvPr id="9" name="62 Image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496" y="4941168"/>
            <a:ext cx="5676116" cy="136815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1 Flecha derecha"/>
          <p:cNvSpPr/>
          <p:nvPr/>
        </p:nvSpPr>
        <p:spPr>
          <a:xfrm>
            <a:off x="5940152" y="2636912"/>
            <a:ext cx="576064" cy="576064"/>
          </a:xfrm>
          <a:prstGeom prst="rightArrow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2 CuadroTexto"/>
          <p:cNvSpPr txBox="1"/>
          <p:nvPr/>
        </p:nvSpPr>
        <p:spPr>
          <a:xfrm>
            <a:off x="6815632" y="2547477"/>
            <a:ext cx="1788816" cy="15081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es-CL" sz="1400" dirty="0" smtClean="0">
                <a:latin typeface="Arial" pitchFamily="34" charset="0"/>
                <a:cs typeface="Arial" pitchFamily="34" charset="0"/>
              </a:rPr>
              <a:t>Re-evaluación del riesgo, sigue en </a:t>
            </a:r>
            <a:r>
              <a:rPr lang="es-CL" sz="1400" b="1" dirty="0" smtClean="0">
                <a:latin typeface="Arial" pitchFamily="34" charset="0"/>
                <a:cs typeface="Arial" pitchFamily="34" charset="0"/>
              </a:rPr>
              <a:t>condición crítica pese a medidas o todas respuesta “NO” en condición crítica</a:t>
            </a:r>
            <a:r>
              <a:rPr lang="es-CL" sz="1400" dirty="0" smtClean="0">
                <a:latin typeface="Arial" pitchFamily="34" charset="0"/>
                <a:cs typeface="Arial" pitchFamily="34" charset="0"/>
              </a:rPr>
              <a:t>?</a:t>
            </a:r>
          </a:p>
        </p:txBody>
      </p:sp>
      <p:sp>
        <p:nvSpPr>
          <p:cNvPr id="12" name="3 Flecha abajo"/>
          <p:cNvSpPr/>
          <p:nvPr/>
        </p:nvSpPr>
        <p:spPr>
          <a:xfrm>
            <a:off x="7271640" y="4174770"/>
            <a:ext cx="576064" cy="725835"/>
          </a:xfrm>
          <a:prstGeom prst="downArrow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84686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00" y="999657"/>
            <a:ext cx="5616625" cy="3645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Elipse"/>
          <p:cNvSpPr/>
          <p:nvPr/>
        </p:nvSpPr>
        <p:spPr>
          <a:xfrm>
            <a:off x="6995652" y="4941168"/>
            <a:ext cx="1224136" cy="1304025"/>
          </a:xfrm>
          <a:prstGeom prst="ellipse">
            <a:avLst/>
          </a:prstGeom>
          <a:solidFill>
            <a:srgbClr val="195A2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s-C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7139668" y="5485458"/>
            <a:ext cx="9361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VALUAR</a:t>
            </a:r>
          </a:p>
        </p:txBody>
      </p:sp>
    </p:spTree>
    <p:extLst>
      <p:ext uri="{BB962C8B-B14F-4D97-AF65-F5344CB8AC3E}">
        <p14:creationId xmlns:p14="http://schemas.microsoft.com/office/powerpoint/2010/main" val="2647130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68895"/>
            <a:ext cx="7992888" cy="615553"/>
          </a:xfrm>
        </p:spPr>
        <p:txBody>
          <a:bodyPr/>
          <a:lstStyle/>
          <a:p>
            <a:r>
              <a:rPr lang="es-CL" dirty="0" smtClean="0"/>
              <a:t>Introducción</a:t>
            </a:r>
            <a:br>
              <a:rPr lang="es-CL" dirty="0" smtClean="0"/>
            </a:b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089912"/>
            <a:ext cx="6697886" cy="52236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617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Etapa de EVALUACIÓN 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539551" y="5661248"/>
            <a:ext cx="8334375" cy="738664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400" dirty="0" smtClean="0"/>
              <a:t>Se cuenta con un plazo de 60 días para ejecutar esta etapa incluyendo plan de acción con medidas..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400" dirty="0" smtClean="0"/>
              <a:t>En caso de requerir una evaluación especializada se cuenta con 60 días más. </a:t>
            </a:r>
            <a:endParaRPr lang="es-CL" sz="1400" dirty="0"/>
          </a:p>
        </p:txBody>
      </p:sp>
      <p:pic>
        <p:nvPicPr>
          <p:cNvPr id="285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839193"/>
            <a:ext cx="5278338" cy="4847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101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Etapa de EVALUACIÓN 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395536" y="980728"/>
            <a:ext cx="82809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Evaluación Inicial: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corresponde a métodos sin nivel de acción por resultado global y más simples 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 su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aplicación. (Puede ser aplicado de acuerdo con lo indicado precedentemente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Evaluación Avanzada: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son métodos con nivel de acción por resultado global y más difícil en 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u aplicación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. (Puede ser aplicado por especialista en ergonomía capacitado de acuerdo con lo </a:t>
            </a:r>
            <a:r>
              <a:rPr 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dicado precedentemente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660" y="2925622"/>
            <a:ext cx="6048672" cy="3315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688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Método de evaluación inicial (MAC)</a:t>
            </a:r>
            <a:endParaRPr lang="es-CL" dirty="0"/>
          </a:p>
        </p:txBody>
      </p:sp>
      <p:grpSp>
        <p:nvGrpSpPr>
          <p:cNvPr id="7" name="Group 14"/>
          <p:cNvGrpSpPr>
            <a:grpSpLocks/>
          </p:cNvGrpSpPr>
          <p:nvPr/>
        </p:nvGrpSpPr>
        <p:grpSpPr bwMode="auto">
          <a:xfrm>
            <a:off x="4656203" y="798190"/>
            <a:ext cx="4249738" cy="5184775"/>
            <a:chOff x="2562" y="663"/>
            <a:chExt cx="2677" cy="3266"/>
          </a:xfrm>
        </p:grpSpPr>
        <p:pic>
          <p:nvPicPr>
            <p:cNvPr id="8" name="Picture 9" descr="tabla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2" y="709"/>
              <a:ext cx="2626" cy="3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>
              <a:off x="5148" y="663"/>
              <a:ext cx="91" cy="5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es-CL" altLang="es-CL"/>
            </a:p>
          </p:txBody>
        </p:sp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5148" y="2931"/>
              <a:ext cx="91" cy="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es-CL" altLang="es-CL"/>
            </a:p>
          </p:txBody>
        </p:sp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5103" y="3612"/>
              <a:ext cx="136" cy="3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es-CL" altLang="es-CL"/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8" y="1764400"/>
            <a:ext cx="4453703" cy="356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2118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Método de evaluación avanzado</a:t>
            </a:r>
            <a:endParaRPr lang="es-CL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93" t="58568" r="57481" b="34779"/>
          <a:stretch>
            <a:fillRect/>
          </a:stretch>
        </p:blipFill>
        <p:spPr bwMode="auto">
          <a:xfrm>
            <a:off x="251520" y="5580435"/>
            <a:ext cx="5257800" cy="59055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2 Marcador de contenido"/>
          <p:cNvSpPr txBox="1">
            <a:spLocks/>
          </p:cNvSpPr>
          <p:nvPr/>
        </p:nvSpPr>
        <p:spPr bwMode="auto">
          <a:xfrm>
            <a:off x="35496" y="886174"/>
            <a:ext cx="5616624" cy="382588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charset="0"/>
              <a:buChar char="•"/>
              <a:defRPr sz="2000">
                <a:latin typeface="+mn-lt"/>
                <a:cs typeface="+mn-cs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Font typeface="Arial" charset="0"/>
              <a:buNone/>
              <a:defRPr/>
            </a:pPr>
            <a:r>
              <a:rPr lang="es-CL" sz="1800" b="1" u="sng" dirty="0" smtClean="0"/>
              <a:t>Ecuación NIOSH </a:t>
            </a:r>
            <a:r>
              <a:rPr lang="es-CL" sz="1800" b="1" dirty="0" smtClean="0"/>
              <a:t>(</a:t>
            </a:r>
            <a:r>
              <a:rPr lang="es-CL" sz="1800" dirty="0"/>
              <a:t>versión europea: </a:t>
            </a:r>
            <a:r>
              <a:rPr lang="es-CL" sz="1400" dirty="0" smtClean="0"/>
              <a:t>EN 1005-2:2003</a:t>
            </a:r>
            <a:r>
              <a:rPr lang="es-CL" sz="1800" b="1" u="sng" dirty="0" smtClean="0"/>
              <a:t>)</a:t>
            </a:r>
            <a:endParaRPr lang="es-CL" sz="1800" b="1" u="sng" dirty="0"/>
          </a:p>
          <a:p>
            <a:pPr algn="ctr">
              <a:defRPr/>
            </a:pPr>
            <a:endParaRPr lang="es-CL" sz="1800" b="1" u="sng" dirty="0"/>
          </a:p>
        </p:txBody>
      </p:sp>
      <p:sp>
        <p:nvSpPr>
          <p:cNvPr id="15" name="1 CuadroTexto"/>
          <p:cNvSpPr txBox="1"/>
          <p:nvPr/>
        </p:nvSpPr>
        <p:spPr>
          <a:xfrm>
            <a:off x="107504" y="1556792"/>
            <a:ext cx="8928992" cy="369328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kumimoji="0" lang="es-CL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LR </a:t>
            </a:r>
            <a:r>
              <a:rPr kumimoji="0" lang="es-CL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(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Helvetica Neue"/>
              </a:rPr>
              <a:t>Masa </a:t>
            </a:r>
            <a:r>
              <a:rPr lang="es-CL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Helvetica Neue"/>
              </a:rPr>
              <a:t>Límite Recomendada</a:t>
            </a:r>
            <a:r>
              <a:rPr lang="es-CL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Helvetica Neue"/>
              </a:rPr>
              <a:t>)</a:t>
            </a:r>
            <a:r>
              <a:rPr kumimoji="0" lang="es-CL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 =  </a:t>
            </a:r>
            <a:r>
              <a:rPr kumimoji="0" lang="es-CL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25</a:t>
            </a:r>
            <a:r>
              <a:rPr kumimoji="0" lang="es-CL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VM</a:t>
            </a:r>
            <a:r>
              <a:rPr kumimoji="0" lang="es-CL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DM </a:t>
            </a:r>
            <a:r>
              <a:rPr kumimoji="0" lang="es-CL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x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HM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AM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CM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FM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OM</a:t>
            </a:r>
            <a:r>
              <a:rPr kumimoji="0" lang="es-CL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x </a:t>
            </a:r>
            <a:r>
              <a:rPr kumimoji="0" lang="es-CL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PM    </a:t>
            </a:r>
            <a:r>
              <a:rPr kumimoji="0" lang="es-CL" sz="14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(kg)</a:t>
            </a:r>
            <a:r>
              <a:rPr kumimoji="0" lang="es-CL" sz="14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</a:t>
            </a:r>
            <a:endParaRPr kumimoji="0" lang="es-CL" sz="14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itchFamily="34" charset="0"/>
              <a:ea typeface="+mj-ea"/>
              <a:cs typeface="Arial" pitchFamily="34" charset="0"/>
              <a:sym typeface="Helvetica Neue"/>
            </a:endParaRPr>
          </a:p>
        </p:txBody>
      </p:sp>
      <p:sp>
        <p:nvSpPr>
          <p:cNvPr id="16" name="17 CuadroTexto"/>
          <p:cNvSpPr txBox="1"/>
          <p:nvPr/>
        </p:nvSpPr>
        <p:spPr>
          <a:xfrm>
            <a:off x="107504" y="2204866"/>
            <a:ext cx="5616624" cy="2400653"/>
          </a:xfrm>
          <a:prstGeom prst="rect">
            <a:avLst/>
          </a:prstGeom>
          <a:noFill/>
          <a:ln w="12700" cap="flat">
            <a:solidFill>
              <a:schemeClr val="bg1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kumimoji="0" lang="es-CL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Donde:</a:t>
            </a:r>
          </a:p>
          <a:p>
            <a:pPr latinLnBrk="1" hangingPunct="0"/>
            <a:endParaRPr lang="es-CL" sz="800" b="1" dirty="0">
              <a:solidFill>
                <a:srgbClr val="000000"/>
              </a:solidFill>
              <a:latin typeface="Arial" pitchFamily="34" charset="0"/>
              <a:ea typeface="+mj-ea"/>
              <a:cs typeface="Arial" pitchFamily="34" charset="0"/>
              <a:sym typeface="Helvetica Neue"/>
            </a:endParaRPr>
          </a:p>
          <a:p>
            <a:pPr latinLnBrk="1" hangingPunct="0"/>
            <a:r>
              <a:rPr kumimoji="0" lang="es-CL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VM</a:t>
            </a:r>
            <a:r>
              <a:rPr kumimoji="0" lang="es-CL" sz="14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</a:t>
            </a:r>
            <a:r>
              <a:rPr kumimoji="0" lang="es-CL" sz="16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: </a:t>
            </a:r>
            <a:r>
              <a:rPr kumimoji="0" lang="es-CL" sz="14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</a:t>
            </a:r>
            <a:r>
              <a:rPr kumimoji="0" lang="es-CL" sz="14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de distancia vertical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DM</a:t>
            </a:r>
            <a:r>
              <a:rPr lang="es-CL" sz="160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de desplazamiento vertical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HM</a:t>
            </a:r>
            <a:r>
              <a:rPr lang="es-CL" sz="1600" baseline="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de distancia horizontal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AM</a:t>
            </a:r>
            <a:r>
              <a:rPr kumimoji="0" lang="es-CL" sz="16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de asimetría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CM</a:t>
            </a:r>
            <a:r>
              <a:rPr kumimoji="0" lang="es-CL" sz="160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de agarre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FM</a:t>
            </a:r>
            <a:r>
              <a:rPr lang="es-CL" sz="160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de frecuencia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OM</a:t>
            </a:r>
            <a:r>
              <a:rPr kumimoji="0" lang="es-CL" sz="16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de manipulación con una mano</a:t>
            </a:r>
          </a:p>
          <a:p>
            <a:pPr latinLnBrk="1" hangingPunct="0"/>
            <a:r>
              <a:rPr lang="es-CL" sz="1400" b="1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PM</a:t>
            </a:r>
            <a:r>
              <a:rPr lang="es-CL" sz="1600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 : </a:t>
            </a:r>
            <a:r>
              <a:rPr lang="es-CL" sz="1400" dirty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  <a:sym typeface="Helvetica Neue"/>
              </a:rPr>
              <a:t>multiplicador de operaciones que requieren mas de una persona </a:t>
            </a: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132857"/>
            <a:ext cx="1728192" cy="4272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468" y="2204864"/>
            <a:ext cx="1725852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23852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Etapa de EVALUACIÓN 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327296" y="942924"/>
            <a:ext cx="8280920" cy="335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L" b="1" dirty="0" smtClean="0"/>
              <a:t>METODOS RECOMENDADOS PARA MMP</a:t>
            </a:r>
            <a:endParaRPr lang="es-CL" b="1" dirty="0"/>
          </a:p>
        </p:txBody>
      </p:sp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255193" y="-14833"/>
            <a:ext cx="4591050" cy="773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405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Etapa de EVALUACIÓN 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327296" y="942924"/>
            <a:ext cx="82809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L" b="1" dirty="0" smtClean="0">
                <a:latin typeface="Arial" panose="020B0604020202020204" pitchFamily="34" charset="0"/>
                <a:cs typeface="Arial" panose="020B0604020202020204" pitchFamily="34" charset="0"/>
              </a:rPr>
              <a:t>METODO MAPO</a:t>
            </a:r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388937" y="1646238"/>
            <a:ext cx="6732289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es-CL" dirty="0"/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</a:t>
            </a:r>
            <a:r>
              <a:rPr lang="es-CL" b="1" dirty="0"/>
              <a:t>NC/</a:t>
            </a:r>
            <a:r>
              <a:rPr lang="es-CL" b="1" dirty="0" err="1"/>
              <a:t>Op</a:t>
            </a:r>
            <a:r>
              <a:rPr lang="es-CL" b="1" dirty="0"/>
              <a:t> </a:t>
            </a:r>
            <a:r>
              <a:rPr lang="es-CL" dirty="0"/>
              <a:t>+ </a:t>
            </a:r>
            <a:r>
              <a:rPr lang="es-CL" b="1" dirty="0"/>
              <a:t>PC/</a:t>
            </a:r>
            <a:r>
              <a:rPr lang="es-CL" b="1" dirty="0" err="1"/>
              <a:t>Op</a:t>
            </a:r>
            <a:r>
              <a:rPr lang="es-CL" dirty="0"/>
              <a:t>: proporción de pacientes no autónomos por trabajador </a:t>
            </a:r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de elevación (</a:t>
            </a:r>
            <a:r>
              <a:rPr lang="es-CL" b="1" dirty="0"/>
              <a:t>FS</a:t>
            </a:r>
            <a:r>
              <a:rPr lang="es-CL" dirty="0"/>
              <a:t>) </a:t>
            </a:r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ayudas menores (</a:t>
            </a:r>
            <a:r>
              <a:rPr lang="es-CL" b="1" dirty="0"/>
              <a:t>FA</a:t>
            </a:r>
            <a:r>
              <a:rPr lang="es-CL" dirty="0"/>
              <a:t>) </a:t>
            </a:r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sillas de ruedas (</a:t>
            </a:r>
            <a:r>
              <a:rPr lang="es-CL" b="1" dirty="0"/>
              <a:t>FC</a:t>
            </a:r>
            <a:r>
              <a:rPr lang="es-CL" dirty="0"/>
              <a:t>) </a:t>
            </a:r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lugar de movilización (</a:t>
            </a:r>
            <a:r>
              <a:rPr lang="es-CL" b="1" dirty="0" err="1"/>
              <a:t>Famb</a:t>
            </a:r>
            <a:r>
              <a:rPr lang="es-CL" dirty="0"/>
              <a:t>) </a:t>
            </a:r>
          </a:p>
          <a:p>
            <a:pPr marL="285750" indent="-285750">
              <a:buFontTx/>
              <a:buChar char="-"/>
              <a:defRPr/>
            </a:pPr>
            <a:r>
              <a:rPr lang="es-CL" dirty="0"/>
              <a:t>Factor formación (</a:t>
            </a:r>
            <a:r>
              <a:rPr lang="es-CL" b="1" dirty="0"/>
              <a:t>FF</a:t>
            </a:r>
            <a:r>
              <a:rPr lang="es-CL" dirty="0"/>
              <a:t>) </a:t>
            </a:r>
          </a:p>
          <a:p>
            <a:pPr>
              <a:defRPr/>
            </a:pPr>
            <a:endParaRPr lang="es-CL" dirty="0"/>
          </a:p>
          <a:p>
            <a:pPr>
              <a:defRPr/>
            </a:pPr>
            <a:r>
              <a:rPr lang="es-CL" dirty="0"/>
              <a:t>El índice de riesgo MAPO se calcula según la siguiente fórmula:</a:t>
            </a:r>
          </a:p>
          <a:p>
            <a:pPr>
              <a:defRPr/>
            </a:pPr>
            <a:endParaRPr lang="es-CL" dirty="0"/>
          </a:p>
          <a:p>
            <a:pPr>
              <a:defRPr/>
            </a:pPr>
            <a:r>
              <a:rPr lang="es-CL" dirty="0"/>
              <a:t> </a:t>
            </a:r>
          </a:p>
          <a:p>
            <a:pPr>
              <a:defRPr/>
            </a:pPr>
            <a:r>
              <a:rPr lang="es-CL" b="1" dirty="0"/>
              <a:t>MAPO= (NC/</a:t>
            </a:r>
            <a:r>
              <a:rPr lang="es-CL" b="1" dirty="0" err="1"/>
              <a:t>Op</a:t>
            </a:r>
            <a:r>
              <a:rPr lang="es-CL" b="1" dirty="0"/>
              <a:t> x FS + PC/</a:t>
            </a:r>
            <a:r>
              <a:rPr lang="es-CL" b="1" dirty="0" err="1"/>
              <a:t>Op</a:t>
            </a:r>
            <a:r>
              <a:rPr lang="es-CL" b="1" dirty="0"/>
              <a:t> x FA) x FC x </a:t>
            </a:r>
            <a:r>
              <a:rPr lang="es-CL" b="1" dirty="0" err="1"/>
              <a:t>Famb</a:t>
            </a:r>
            <a:r>
              <a:rPr lang="es-CL" b="1" dirty="0"/>
              <a:t> x FF </a:t>
            </a:r>
          </a:p>
        </p:txBody>
      </p:sp>
      <p:pic>
        <p:nvPicPr>
          <p:cNvPr id="8" name="3 Imagen" descr="Nota técnica de prevención - NTP 907 - Adobe Read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48" t="50000" r="13881" b="7375"/>
          <a:stretch>
            <a:fillRect/>
          </a:stretch>
        </p:blipFill>
        <p:spPr bwMode="auto">
          <a:xfrm>
            <a:off x="424730" y="1658045"/>
            <a:ext cx="6886284" cy="4162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520560" y="5957257"/>
            <a:ext cx="79320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000" b="1" dirty="0" smtClean="0">
                <a:latin typeface="Arial" pitchFamily="34" charset="0"/>
                <a:cs typeface="Arial" pitchFamily="34" charset="0"/>
              </a:rPr>
              <a:t>Fuente: </a:t>
            </a:r>
            <a:r>
              <a:rPr lang="es-CL" sz="1000" dirty="0" smtClean="0">
                <a:latin typeface="Arial" pitchFamily="34" charset="0"/>
                <a:cs typeface="Arial" pitchFamily="34" charset="0"/>
              </a:rPr>
              <a:t>NTP 907, INSHT. Evaluación del riesgo por manejo manual de pacientes: Método MAPO, 2011</a:t>
            </a:r>
          </a:p>
        </p:txBody>
      </p:sp>
    </p:spTree>
    <p:extLst>
      <p:ext uri="{BB962C8B-B14F-4D97-AF65-F5344CB8AC3E}">
        <p14:creationId xmlns:p14="http://schemas.microsoft.com/office/powerpoint/2010/main" val="480457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Medidas de control del riesgo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327296" y="833740"/>
            <a:ext cx="82809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L" b="1" dirty="0" smtClean="0">
                <a:latin typeface="Arial" panose="020B0604020202020204" pitchFamily="34" charset="0"/>
                <a:cs typeface="Arial" panose="020B0604020202020204" pitchFamily="34" charset="0"/>
              </a:rPr>
              <a:t>PRELACIÓN </a:t>
            </a:r>
            <a:endParaRPr lang="es-C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358236" y="1225472"/>
            <a:ext cx="85342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La Política Nacional de Seguridad y Salud en el Trabajo en su Principio de “Desarrollo de un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foque preventivo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” da énfasis a la prevención de los riesgos laborales por sobre la protección de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éstos. </a:t>
            </a:r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483859092"/>
              </p:ext>
            </p:extLst>
          </p:nvPr>
        </p:nvGraphicFramePr>
        <p:xfrm>
          <a:off x="1241234" y="1893304"/>
          <a:ext cx="5976664" cy="3312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12 CuadroTexto"/>
          <p:cNvSpPr txBox="1"/>
          <p:nvPr/>
        </p:nvSpPr>
        <p:spPr>
          <a:xfrm>
            <a:off x="2777408" y="5465355"/>
            <a:ext cx="4711168" cy="600164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s-CL" sz="1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P: </a:t>
            </a:r>
            <a:r>
              <a:rPr lang="es-CL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reconocen EPP específicos para evitar impacto de a sobrecarga lumbar asociada al MMC/MMP. Un punto a considerar es la ropa de trabajo</a:t>
            </a:r>
            <a:r>
              <a:rPr lang="es-CL" sz="1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689679" y="6087189"/>
            <a:ext cx="8334375" cy="30777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CL" sz="1400" dirty="0" smtClean="0"/>
              <a:t>Se cuenta con un plazo de 60 días implementar medidas. OAL puede acordar plazo máximo 180 días.. </a:t>
            </a:r>
          </a:p>
        </p:txBody>
      </p:sp>
    </p:spTree>
    <p:extLst>
      <p:ext uri="{BB962C8B-B14F-4D97-AF65-F5344CB8AC3E}">
        <p14:creationId xmlns:p14="http://schemas.microsoft.com/office/powerpoint/2010/main" val="1818337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Graphic spid="8" grpId="0">
        <p:bldAsOne/>
      </p:bldGraphic>
      <p:bldP spid="13" grpId="0" animBg="1"/>
      <p:bldP spid="1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Herramientas de apoyo </a:t>
            </a:r>
            <a:r>
              <a:rPr lang="es-CL" dirty="0" err="1" smtClean="0"/>
              <a:t>achs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282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178" y="1312589"/>
            <a:ext cx="3245254" cy="4676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552178" y="942627"/>
            <a:ext cx="324525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600" b="1" dirty="0" smtClean="0">
                <a:latin typeface="Arial" pitchFamily="34" charset="0"/>
                <a:cs typeface="Arial" pitchFamily="34" charset="0"/>
              </a:rPr>
              <a:t>Etapa Inicial</a:t>
            </a:r>
            <a:r>
              <a:rPr lang="es-CL" sz="1600" dirty="0" smtClean="0">
                <a:latin typeface="Arial" pitchFamily="34" charset="0"/>
                <a:cs typeface="Arial" pitchFamily="34" charset="0"/>
              </a:rPr>
              <a:t>: Programa de gestión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4361917" y="971916"/>
            <a:ext cx="44114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600" b="1" dirty="0" smtClean="0">
                <a:latin typeface="Arial" pitchFamily="34" charset="0"/>
                <a:cs typeface="Arial" pitchFamily="34" charset="0"/>
              </a:rPr>
              <a:t>Etapa Identificación: </a:t>
            </a:r>
            <a:r>
              <a:rPr lang="es-CL" sz="1600" dirty="0" smtClean="0">
                <a:latin typeface="Arial" pitchFamily="34" charset="0"/>
                <a:cs typeface="Arial" pitchFamily="34" charset="0"/>
              </a:rPr>
              <a:t>ACHS MMC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75" t="18908" r="26762" b="19929"/>
          <a:stretch/>
        </p:blipFill>
        <p:spPr bwMode="auto">
          <a:xfrm>
            <a:off x="4391659" y="1513172"/>
            <a:ext cx="4068771" cy="42756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8423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Herramientas de apoyo </a:t>
            </a:r>
            <a:r>
              <a:rPr lang="es-CL" dirty="0" err="1" smtClean="0"/>
              <a:t>achs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35757" y="1340768"/>
            <a:ext cx="324525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600" b="1" dirty="0" smtClean="0">
                <a:latin typeface="Arial" pitchFamily="34" charset="0"/>
                <a:cs typeface="Arial" pitchFamily="34" charset="0"/>
              </a:rPr>
              <a:t>Etapa </a:t>
            </a:r>
            <a:r>
              <a:rPr lang="es-CL" sz="1600" dirty="0" smtClean="0">
                <a:latin typeface="Arial" pitchFamily="34" charset="0"/>
                <a:cs typeface="Arial" pitchFamily="34" charset="0"/>
              </a:rPr>
              <a:t>: Evaluación inicial (MAC)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57" y="1728242"/>
            <a:ext cx="4453703" cy="356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773" y="1340768"/>
            <a:ext cx="4058144" cy="42002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8729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Herramientas de apoyo </a:t>
            </a:r>
            <a:r>
              <a:rPr lang="es-CL" dirty="0" err="1" smtClean="0"/>
              <a:t>achs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92907" y="917417"/>
            <a:ext cx="324525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600" b="1" dirty="0" smtClean="0">
                <a:latin typeface="Arial" pitchFamily="34" charset="0"/>
                <a:cs typeface="Arial" pitchFamily="34" charset="0"/>
              </a:rPr>
              <a:t>Etapa</a:t>
            </a:r>
            <a:r>
              <a:rPr lang="es-CL" sz="1600" dirty="0" smtClean="0">
                <a:latin typeface="Arial" pitchFamily="34" charset="0"/>
                <a:cs typeface="Arial" pitchFamily="34" charset="0"/>
              </a:rPr>
              <a:t>: Medidas de control MMC</a:t>
            </a:r>
          </a:p>
        </p:txBody>
      </p:sp>
      <p:pic>
        <p:nvPicPr>
          <p:cNvPr id="283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494947"/>
            <a:ext cx="3816424" cy="301058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36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6976" y="933103"/>
            <a:ext cx="3323582" cy="442002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36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992" y="1337082"/>
            <a:ext cx="3373606" cy="44963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365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07" y="2811869"/>
            <a:ext cx="3869123" cy="307005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3654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0150" y="1695475"/>
            <a:ext cx="3374451" cy="45576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7275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ntroducción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052736"/>
            <a:ext cx="4009661" cy="4649563"/>
          </a:xfrm>
          <a:prstGeom prst="rect">
            <a:avLst/>
          </a:prstGeom>
          <a:noFill/>
          <a:ln w="9525">
            <a:solidFill>
              <a:srgbClr val="0066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73493" y="2078385"/>
            <a:ext cx="4267200" cy="26776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defRPr/>
            </a:pPr>
            <a:endParaRPr lang="es-CL" sz="1400" dirty="0" smtClean="0">
              <a:latin typeface="Arial" pitchFamily="34" charset="0"/>
            </a:endParaRPr>
          </a:p>
          <a:p>
            <a:pPr algn="just" eaLnBrk="1" hangingPunct="1">
              <a:defRPr/>
            </a:pPr>
            <a:r>
              <a:rPr lang="es-CL" sz="1400" b="1" dirty="0" smtClean="0">
                <a:solidFill>
                  <a:srgbClr val="195A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:</a:t>
            </a:r>
          </a:p>
          <a:p>
            <a:pPr algn="just" eaLnBrk="1" hangingPunct="1">
              <a:defRPr/>
            </a:pPr>
            <a:endParaRPr lang="es-CL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. Regular los aspectos técnicos de  la Ley Nº20.001 y DS Nº63.</a:t>
            </a:r>
          </a:p>
          <a:p>
            <a:pPr algn="just" eaLnBrk="1" hangingPunct="1">
              <a:defRPr/>
            </a:pPr>
            <a:endParaRPr lang="es-CL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defRPr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. Asistir principalmente a los profesionales de la prevención de riesgos y salud ocupacional y a representantes de comités paritarios de higiene y seguridad, en sus iniciativas de identificación, evaluación y control de los riesgos asociados al MMC.</a:t>
            </a: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6131" y="844316"/>
            <a:ext cx="4125416" cy="5066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9451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Herramientas de apoyo </a:t>
            </a:r>
            <a:r>
              <a:rPr lang="es-CL" dirty="0" err="1" smtClean="0"/>
              <a:t>achs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478632" y="1124744"/>
            <a:ext cx="324525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600" b="1" dirty="0" smtClean="0">
                <a:latin typeface="Arial" pitchFamily="34" charset="0"/>
                <a:cs typeface="Arial" pitchFamily="34" charset="0"/>
              </a:rPr>
              <a:t>Etapa</a:t>
            </a:r>
            <a:r>
              <a:rPr lang="es-CL" sz="1600" dirty="0" smtClean="0">
                <a:latin typeface="Arial" pitchFamily="34" charset="0"/>
                <a:cs typeface="Arial" pitchFamily="34" charset="0"/>
              </a:rPr>
              <a:t>: Medidas de control</a:t>
            </a:r>
          </a:p>
        </p:txBody>
      </p:sp>
      <p:pic>
        <p:nvPicPr>
          <p:cNvPr id="287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66" y="1556792"/>
            <a:ext cx="5521710" cy="44173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774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2683759"/>
            <a:ext cx="2952328" cy="21634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3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OFERTA capacitación MMC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30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2867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34" y="848073"/>
            <a:ext cx="4384051" cy="51945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67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029516"/>
            <a:ext cx="4053306" cy="50295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67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029516"/>
            <a:ext cx="4837590" cy="48486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67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190" y="1029516"/>
            <a:ext cx="4268930" cy="51679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7157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484" y="225816"/>
            <a:ext cx="7992888" cy="307777"/>
          </a:xfrm>
        </p:spPr>
        <p:txBody>
          <a:bodyPr/>
          <a:lstStyle/>
          <a:p>
            <a:r>
              <a:rPr lang="es-CL" dirty="0" smtClean="0"/>
              <a:t>En un futuro próximo </a:t>
            </a:r>
            <a:r>
              <a:rPr lang="es-CL" dirty="0" err="1" smtClean="0"/>
              <a:t>achs</a:t>
            </a:r>
            <a:r>
              <a:rPr lang="es-CL" dirty="0" smtClean="0"/>
              <a:t> gestión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285698" name="Imagen 1" descr="image00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8760"/>
            <a:ext cx="8049674" cy="36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2281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89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ntroducción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152854"/>
            <a:ext cx="7363209" cy="4921623"/>
          </a:xfrm>
          <a:prstGeom prst="rect">
            <a:avLst/>
          </a:prstGeom>
        </p:spPr>
      </p:pic>
      <p:sp>
        <p:nvSpPr>
          <p:cNvPr id="35" name="Rectángulo 34"/>
          <p:cNvSpPr/>
          <p:nvPr/>
        </p:nvSpPr>
        <p:spPr>
          <a:xfrm>
            <a:off x="755576" y="983577"/>
            <a:ext cx="46085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/>
            <a:r>
              <a:rPr lang="es-ES_tradnl" sz="1600" u="sng" dirty="0">
                <a:latin typeface="Arial" panose="020B0604020202020204" pitchFamily="34" charset="0"/>
                <a:cs typeface="Arial" panose="020B0604020202020204" pitchFamily="34" charset="0"/>
              </a:rPr>
              <a:t>Historia de la Ley en Chile relacionado a MMC</a:t>
            </a:r>
            <a:endParaRPr lang="es-MX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5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ntroducción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9" name="Text Box 18"/>
          <p:cNvSpPr txBox="1">
            <a:spLocks noChangeArrowheads="1"/>
          </p:cNvSpPr>
          <p:nvPr/>
        </p:nvSpPr>
        <p:spPr bwMode="auto">
          <a:xfrm>
            <a:off x="533400" y="1371600"/>
            <a:ext cx="8001000" cy="4370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84163" indent="-28416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defRPr/>
            </a:pPr>
            <a:r>
              <a:rPr lang="es-ES" sz="1800" b="1" i="1" dirty="0" smtClean="0">
                <a:solidFill>
                  <a:srgbClr val="195A28"/>
                </a:solidFill>
                <a:latin typeface="Arial" pitchFamily="34" charset="0"/>
              </a:rPr>
              <a:t>Articulo 211-H.-</a:t>
            </a:r>
            <a:r>
              <a:rPr lang="es-ES" sz="1800" i="1" dirty="0" smtClean="0">
                <a:solidFill>
                  <a:srgbClr val="195A28"/>
                </a:solidFill>
                <a:latin typeface="Arial" pitchFamily="34" charset="0"/>
              </a:rPr>
              <a:t> </a:t>
            </a:r>
          </a:p>
          <a:p>
            <a:pPr marL="179388" indent="-179388" algn="just" eaLnBrk="1" hangingPunct="1">
              <a:buFont typeface="Arial" pitchFamily="34" charset="0"/>
              <a:buChar char="•"/>
              <a:defRPr/>
            </a:pPr>
            <a:r>
              <a:rPr lang="es-ES" sz="1400" i="1" dirty="0" smtClean="0">
                <a:latin typeface="Arial" pitchFamily="34" charset="0"/>
              </a:rPr>
              <a:t>Si la manipulación manual es inevitable y las ayudas mecánicas no pueden usarse, no se permitirá que se opere con cargas superiores a </a:t>
            </a:r>
            <a:r>
              <a:rPr lang="es-ES" sz="1400" b="1" i="1" u="sng" dirty="0" smtClean="0">
                <a:latin typeface="Arial" pitchFamily="34" charset="0"/>
              </a:rPr>
              <a:t>50 kilogramos</a:t>
            </a:r>
            <a:r>
              <a:rPr lang="es-ES" sz="1400" i="1" dirty="0" smtClean="0">
                <a:latin typeface="Arial" pitchFamily="34" charset="0"/>
              </a:rPr>
              <a:t>.</a:t>
            </a:r>
          </a:p>
          <a:p>
            <a:pPr algn="just" eaLnBrk="1" hangingPunct="1">
              <a:defRPr/>
            </a:pPr>
            <a:r>
              <a:rPr lang="es-ES" sz="1400" i="1" dirty="0" smtClean="0">
                <a:latin typeface="Arial" pitchFamily="34" charset="0"/>
              </a:rPr>
              <a:t> </a:t>
            </a:r>
            <a:endParaRPr lang="es-CL" sz="1400" i="1" dirty="0" smtClean="0">
              <a:latin typeface="Arial" pitchFamily="34" charset="0"/>
            </a:endParaRPr>
          </a:p>
          <a:p>
            <a:pPr algn="just" eaLnBrk="1" hangingPunct="1">
              <a:defRPr/>
            </a:pPr>
            <a:endParaRPr lang="es-ES" sz="1400" i="1" dirty="0" smtClean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ES" sz="1400" i="1" dirty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ES" sz="1400" i="1" dirty="0" smtClean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ES" sz="1400" i="1" dirty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ES" sz="1400" i="1" dirty="0" smtClean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r>
              <a:rPr lang="es-ES" sz="1800" b="1" i="1" dirty="0" smtClean="0">
                <a:solidFill>
                  <a:srgbClr val="195A28"/>
                </a:solidFill>
                <a:latin typeface="Arial" pitchFamily="34" charset="0"/>
              </a:rPr>
              <a:t>Artículo 211-I.-</a:t>
            </a:r>
            <a:r>
              <a:rPr lang="es-ES" sz="1800" i="1" dirty="0" smtClean="0">
                <a:solidFill>
                  <a:srgbClr val="195A28"/>
                </a:solidFill>
                <a:latin typeface="Arial" pitchFamily="34" charset="0"/>
              </a:rPr>
              <a:t> </a:t>
            </a:r>
          </a:p>
          <a:p>
            <a:pPr marL="179388" indent="-179388" algn="just" eaLnBrk="1" hangingPunct="1">
              <a:buFont typeface="Arial" pitchFamily="34" charset="0"/>
              <a:buChar char="•"/>
              <a:defRPr/>
            </a:pPr>
            <a:r>
              <a:rPr lang="es-ES" sz="1400" i="1" dirty="0" smtClean="0">
                <a:latin typeface="Arial" pitchFamily="34" charset="0"/>
              </a:rPr>
              <a:t>Se prohíbe las operaciones de carga y descarga manual para la mujer embarazada.</a:t>
            </a:r>
          </a:p>
          <a:p>
            <a:pPr algn="just" eaLnBrk="1" hangingPunct="1">
              <a:defRPr/>
            </a:pPr>
            <a:endParaRPr lang="es-CL" sz="1400" i="1" dirty="0" smtClean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CL" sz="1400" i="1" dirty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endParaRPr lang="es-CL" sz="1400" i="1" dirty="0" smtClean="0">
              <a:solidFill>
                <a:srgbClr val="195A28"/>
              </a:solidFill>
              <a:latin typeface="Arial" pitchFamily="34" charset="0"/>
            </a:endParaRPr>
          </a:p>
          <a:p>
            <a:pPr algn="just" eaLnBrk="1" hangingPunct="1">
              <a:defRPr/>
            </a:pPr>
            <a:r>
              <a:rPr lang="es-ES" sz="1400" i="1" dirty="0" smtClean="0">
                <a:solidFill>
                  <a:srgbClr val="195A28"/>
                </a:solidFill>
                <a:latin typeface="Arial" pitchFamily="34" charset="0"/>
              </a:rPr>
              <a:t> </a:t>
            </a:r>
          </a:p>
          <a:p>
            <a:pPr algn="just" eaLnBrk="1" hangingPunct="1">
              <a:defRPr/>
            </a:pPr>
            <a:r>
              <a:rPr lang="es-ES" sz="1800" b="1" i="1" dirty="0" smtClean="0">
                <a:solidFill>
                  <a:srgbClr val="195A28"/>
                </a:solidFill>
                <a:latin typeface="Arial" pitchFamily="34" charset="0"/>
              </a:rPr>
              <a:t>Artículo 211-J.- </a:t>
            </a:r>
          </a:p>
          <a:p>
            <a:pPr marL="179388" indent="-179388" algn="just" eaLnBrk="1" hangingPunct="1">
              <a:buFont typeface="Arial" pitchFamily="34" charset="0"/>
              <a:buChar char="•"/>
              <a:defRPr/>
            </a:pPr>
            <a:r>
              <a:rPr lang="es-ES" sz="1400" i="1" dirty="0" smtClean="0">
                <a:latin typeface="Arial" pitchFamily="34" charset="0"/>
              </a:rPr>
              <a:t>Los menores de 18 años y mujeres no podrán llevar, transportar, cargar, arrastrar o empujar manualmente, y sin ayuda mecánica, cargas superiores a los </a:t>
            </a:r>
            <a:r>
              <a:rPr lang="es-ES" sz="1400" b="1" i="1" u="sng" dirty="0" smtClean="0">
                <a:latin typeface="Arial" pitchFamily="34" charset="0"/>
              </a:rPr>
              <a:t>20 kilogramos</a:t>
            </a:r>
            <a:r>
              <a:rPr lang="es-ES" sz="1400" i="1" dirty="0" smtClean="0">
                <a:latin typeface="Arial" pitchFamily="34" charset="0"/>
              </a:rPr>
              <a:t>.</a:t>
            </a:r>
          </a:p>
          <a:p>
            <a:pPr lvl="2" algn="just" eaLnBrk="1" hangingPunct="1">
              <a:defRPr/>
            </a:pPr>
            <a:endParaRPr lang="es-MX" sz="1400" i="1" dirty="0" smtClean="0">
              <a:solidFill>
                <a:srgbClr val="195A28"/>
              </a:solidFill>
              <a:latin typeface="Arial" pitchFamily="34" charset="0"/>
            </a:endParaRPr>
          </a:p>
        </p:txBody>
      </p:sp>
      <p:sp>
        <p:nvSpPr>
          <p:cNvPr id="10" name="CuadroTexto 1"/>
          <p:cNvSpPr txBox="1">
            <a:spLocks noChangeArrowheads="1"/>
          </p:cNvSpPr>
          <p:nvPr/>
        </p:nvSpPr>
        <p:spPr bwMode="auto">
          <a:xfrm>
            <a:off x="3384550" y="914400"/>
            <a:ext cx="5580063" cy="19383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1200" b="1" u="sng" dirty="0">
                <a:latin typeface="Arial" pitchFamily="34" charset="0"/>
              </a:rPr>
              <a:t>LEY 20.949:</a:t>
            </a:r>
          </a:p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1200" dirty="0">
                <a:latin typeface="Arial" pitchFamily="34" charset="0"/>
              </a:rPr>
              <a:t>"Artículo 211-H.- Si la manipulación manual es inevitable y las ayudas mecánicas no pueden usarse, no se permitirá que se opere con cargas </a:t>
            </a:r>
            <a:r>
              <a:rPr lang="es-CL" altLang="es-CL" sz="1200" b="1" i="1" dirty="0">
                <a:latin typeface="Arial" pitchFamily="34" charset="0"/>
              </a:rPr>
              <a:t>superiores a 25 kilogramos</a:t>
            </a:r>
            <a:r>
              <a:rPr lang="es-CL" altLang="es-CL" sz="1200" dirty="0">
                <a:latin typeface="Arial" pitchFamily="34" charset="0"/>
              </a:rPr>
              <a:t>. Esta carga será modificada en la medida que existan </a:t>
            </a:r>
            <a:r>
              <a:rPr lang="es-CL" altLang="es-CL" sz="1200" b="1" i="1" dirty="0">
                <a:latin typeface="Arial" pitchFamily="34" charset="0"/>
              </a:rPr>
              <a:t>otros factores agravantes</a:t>
            </a:r>
            <a:r>
              <a:rPr lang="es-CL" altLang="es-CL" sz="1200" dirty="0">
                <a:latin typeface="Arial" pitchFamily="34" charset="0"/>
              </a:rPr>
              <a:t>, caso en el cual, la manipulación deberá efectuarse en conformidad a lo </a:t>
            </a:r>
            <a:r>
              <a:rPr lang="es-CL" altLang="es-CL" sz="1200" b="1" i="1" dirty="0">
                <a:latin typeface="Arial" pitchFamily="34" charset="0"/>
              </a:rPr>
              <a:t>dispuesto en el decreto supremo Nº 63</a:t>
            </a:r>
            <a:r>
              <a:rPr lang="es-CL" altLang="es-CL" sz="1200" dirty="0">
                <a:latin typeface="Arial" pitchFamily="34" charset="0"/>
              </a:rPr>
              <a:t>, del Ministerio del Trabajo y Previsión Social, del año 2005, que aprueba reglamento para la aplicación de la ley Nº 20.001, que regula el peso máximo de carga humana, y en la </a:t>
            </a:r>
            <a:r>
              <a:rPr lang="es-CL" altLang="es-CL" sz="1200" b="1" i="1" dirty="0">
                <a:latin typeface="Arial" pitchFamily="34" charset="0"/>
              </a:rPr>
              <a:t>Guía Técnica para la Evaluación y Control de los Riesgos Asociados al Manejo o Manipulación Manual de Carga</a:t>
            </a:r>
            <a:r>
              <a:rPr lang="es-CL" altLang="es-CL" sz="1200" dirty="0">
                <a:latin typeface="Arial" pitchFamily="34" charset="0"/>
              </a:rPr>
              <a:t>"</a:t>
            </a:r>
          </a:p>
        </p:txBody>
      </p:sp>
      <p:sp>
        <p:nvSpPr>
          <p:cNvPr id="11" name="CuadroTexto 6"/>
          <p:cNvSpPr txBox="1">
            <a:spLocks noChangeArrowheads="1"/>
          </p:cNvSpPr>
          <p:nvPr/>
        </p:nvSpPr>
        <p:spPr bwMode="auto">
          <a:xfrm>
            <a:off x="3384550" y="4365625"/>
            <a:ext cx="5580063" cy="1938338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1200" b="1" u="sng" dirty="0">
                <a:latin typeface="Arial" pitchFamily="34" charset="0"/>
              </a:rPr>
              <a:t>LEY 20.949:</a:t>
            </a:r>
          </a:p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1200" dirty="0">
                <a:latin typeface="Arial" pitchFamily="34" charset="0"/>
              </a:rPr>
              <a:t>"Artículo 211-J.- Los menores de 18 años y las mujeres no podrán llevar, transportar, cargar, </a:t>
            </a:r>
            <a:r>
              <a:rPr lang="es-CL" altLang="es-CL" sz="1200" b="1" u="sng" dirty="0">
                <a:solidFill>
                  <a:srgbClr val="195A28"/>
                </a:solidFill>
                <a:latin typeface="Arial" pitchFamily="34" charset="0"/>
              </a:rPr>
              <a:t>arrastrar ni empujar</a:t>
            </a:r>
            <a:r>
              <a:rPr lang="es-CL" altLang="es-CL" sz="1200" b="1" dirty="0">
                <a:solidFill>
                  <a:srgbClr val="195A28"/>
                </a:solidFill>
                <a:latin typeface="Arial" pitchFamily="34" charset="0"/>
              </a:rPr>
              <a:t> </a:t>
            </a:r>
            <a:r>
              <a:rPr lang="es-CL" altLang="es-CL" sz="1200" dirty="0">
                <a:latin typeface="Arial" pitchFamily="34" charset="0"/>
              </a:rPr>
              <a:t>manualmente, y sin ayuda mecánica, </a:t>
            </a:r>
            <a:r>
              <a:rPr lang="es-CL" altLang="es-CL" sz="1200" b="1" i="1" dirty="0">
                <a:latin typeface="Arial" pitchFamily="34" charset="0"/>
              </a:rPr>
              <a:t>cargas superiores a 20 kilogramos</a:t>
            </a:r>
            <a:r>
              <a:rPr lang="es-CL" altLang="es-CL" sz="1200" dirty="0">
                <a:latin typeface="Arial" pitchFamily="34" charset="0"/>
              </a:rPr>
              <a:t>. Para estos trabajadores, el empleador deberá implementar medidas de seguridad y mitigación, tales como rotación de trabajadores, </a:t>
            </a:r>
            <a:r>
              <a:rPr lang="es-CL" altLang="es-CL" sz="1200" b="1" dirty="0">
                <a:solidFill>
                  <a:srgbClr val="195A28"/>
                </a:solidFill>
                <a:latin typeface="Arial" pitchFamily="34" charset="0"/>
              </a:rPr>
              <a:t>disminución de las alturas de levantamiento o aumento de la frecuencia</a:t>
            </a:r>
            <a:r>
              <a:rPr lang="es-CL" altLang="es-CL" sz="1200" dirty="0">
                <a:latin typeface="Arial" pitchFamily="34" charset="0"/>
              </a:rPr>
              <a:t> con que se manipula la carga. El detalle de la implementación de dichas medidas estará contenido en la </a:t>
            </a:r>
            <a:r>
              <a:rPr lang="es-CL" altLang="es-CL" sz="1200" b="1" i="1" dirty="0">
                <a:latin typeface="Arial" pitchFamily="34" charset="0"/>
              </a:rPr>
              <a:t>Guía Técnica para la Evaluación y Control de los Riesgos Asociados al Manejo o Manipulación Manual de Carga</a:t>
            </a:r>
            <a:r>
              <a:rPr lang="es-CL" altLang="es-CL" sz="1200" dirty="0">
                <a:latin typeface="Arial" pitchFamily="34" charset="0"/>
              </a:rPr>
              <a:t>."</a:t>
            </a:r>
            <a:endParaRPr lang="es-CL" altLang="es-CL" sz="1200" b="1" u="sng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321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introducción</a:t>
            </a:r>
            <a:endParaRPr lang="es-C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s-CL">
              <a:solidFill>
                <a:srgbClr val="000000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190653"/>
            <a:ext cx="3603069" cy="470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4 Rectángulo"/>
          <p:cNvSpPr/>
          <p:nvPr/>
        </p:nvSpPr>
        <p:spPr>
          <a:xfrm>
            <a:off x="4225667" y="1772816"/>
            <a:ext cx="4572000" cy="329320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s-CL" altLang="es-C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“No </a:t>
            </a:r>
            <a:r>
              <a:rPr lang="es-CL" altLang="es-CL" sz="1600" dirty="0">
                <a:latin typeface="Arial" panose="020B0604020202020204" pitchFamily="34" charset="0"/>
                <a:cs typeface="Arial" panose="020B0604020202020204" pitchFamily="34" charset="0"/>
              </a:rPr>
              <a:t>se permitirá que se opere con cargas </a:t>
            </a:r>
            <a:r>
              <a:rPr lang="es-CL" altLang="es-CL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superiores a 25 kilogramos</a:t>
            </a:r>
            <a:r>
              <a:rPr lang="es-CL" altLang="es-CL" sz="1600" dirty="0">
                <a:latin typeface="Arial" panose="020B0604020202020204" pitchFamily="34" charset="0"/>
                <a:cs typeface="Arial" panose="020B0604020202020204" pitchFamily="34" charset="0"/>
              </a:rPr>
              <a:t>. Esta carga será modificada en la medida que existan </a:t>
            </a:r>
            <a:r>
              <a:rPr lang="es-CL" altLang="es-CL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otros factores agravantes</a:t>
            </a:r>
            <a:r>
              <a:rPr lang="es-CL" altLang="es-CL" sz="1600" dirty="0">
                <a:latin typeface="Arial" panose="020B0604020202020204" pitchFamily="34" charset="0"/>
                <a:cs typeface="Arial" panose="020B0604020202020204" pitchFamily="34" charset="0"/>
              </a:rPr>
              <a:t>, caso en el cual, la manipulación deberá efectuarse en conformidad a lo </a:t>
            </a:r>
            <a:r>
              <a:rPr lang="es-CL" altLang="es-CL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dispuesto en el decreto supremo Nº 63</a:t>
            </a:r>
            <a:r>
              <a:rPr lang="es-CL" altLang="es-CL" sz="1600" dirty="0">
                <a:latin typeface="Arial" panose="020B0604020202020204" pitchFamily="34" charset="0"/>
                <a:cs typeface="Arial" panose="020B0604020202020204" pitchFamily="34" charset="0"/>
              </a:rPr>
              <a:t>, del Ministerio del Trabajo y Previsión Social, del año 2005, que aprueba reglamento para la aplicación de la ley Nº 20.001, que regula el peso máximo de carga humana, y en la </a:t>
            </a:r>
            <a:r>
              <a:rPr lang="es-CL" altLang="es-CL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Guía Técnica para la Evaluación y Control de los Riesgos Asociados al Manejo o Manipulación Manual de Carga</a:t>
            </a:r>
            <a:r>
              <a:rPr lang="es-CL" altLang="es-CL" sz="160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  <p:sp>
        <p:nvSpPr>
          <p:cNvPr id="4" name="3 CuadroTexto"/>
          <p:cNvSpPr txBox="1"/>
          <p:nvPr/>
        </p:nvSpPr>
        <p:spPr>
          <a:xfrm>
            <a:off x="755575" y="5957257"/>
            <a:ext cx="33843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000" b="1" dirty="0" smtClean="0">
                <a:latin typeface="Arial" pitchFamily="34" charset="0"/>
                <a:cs typeface="Arial" pitchFamily="34" charset="0"/>
              </a:rPr>
              <a:t>Fuente: </a:t>
            </a:r>
            <a:r>
              <a:rPr lang="es-CL" sz="1000" dirty="0" smtClean="0">
                <a:latin typeface="Arial" pitchFamily="34" charset="0"/>
                <a:cs typeface="Arial" pitchFamily="34" charset="0"/>
              </a:rPr>
              <a:t>Guía Técnica para la Manipulación Manual de Carga, INSHT,2003</a:t>
            </a:r>
          </a:p>
        </p:txBody>
      </p:sp>
    </p:spTree>
    <p:extLst>
      <p:ext uri="{BB962C8B-B14F-4D97-AF65-F5344CB8AC3E}">
        <p14:creationId xmlns:p14="http://schemas.microsoft.com/office/powerpoint/2010/main" val="2027852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Sectores económicos foco </a:t>
            </a:r>
            <a:r>
              <a:rPr lang="es-CL" dirty="0" err="1" smtClean="0"/>
              <a:t>achs</a:t>
            </a:r>
            <a:endParaRPr lang="es-CL" dirty="0"/>
          </a:p>
        </p:txBody>
      </p:sp>
      <p:sp>
        <p:nvSpPr>
          <p:cNvPr id="3" name="2 CuadroTexto"/>
          <p:cNvSpPr txBox="1"/>
          <p:nvPr/>
        </p:nvSpPr>
        <p:spPr>
          <a:xfrm>
            <a:off x="2576336" y="6237312"/>
            <a:ext cx="367240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1000" b="1" dirty="0" smtClean="0">
                <a:latin typeface="Arial" pitchFamily="34" charset="0"/>
                <a:cs typeface="Arial" pitchFamily="34" charset="0"/>
              </a:rPr>
              <a:t>Fuente: </a:t>
            </a:r>
            <a:r>
              <a:rPr lang="es-CL" sz="1000" dirty="0" smtClean="0">
                <a:latin typeface="Arial" pitchFamily="34" charset="0"/>
                <a:cs typeface="Arial" pitchFamily="34" charset="0"/>
              </a:rPr>
              <a:t>Datos ACHS, casos lumbago período 2014-2016 </a:t>
            </a:r>
          </a:p>
        </p:txBody>
      </p:sp>
      <p:pic>
        <p:nvPicPr>
          <p:cNvPr id="285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64" y="869864"/>
            <a:ext cx="7488832" cy="4863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337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95536" y="1124744"/>
            <a:ext cx="8334375" cy="4278094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/>
              <a:t>Esta Guía Técnica ha sido elaborada para el cumplimiento de la obligatoriedad referida en los </a:t>
            </a:r>
            <a:r>
              <a:rPr lang="es-CL" sz="1600" dirty="0" smtClean="0"/>
              <a:t>artículos 211-H </a:t>
            </a:r>
            <a:r>
              <a:rPr lang="es-CL" sz="1600" dirty="0"/>
              <a:t>y 211-J del Código del Trabajo modificados por la Ley N°20.949 y el DS N° 63, de </a:t>
            </a:r>
            <a:r>
              <a:rPr lang="es-CL" sz="1600" dirty="0" smtClean="0"/>
              <a:t>2005, modificado </a:t>
            </a:r>
            <a:r>
              <a:rPr lang="es-CL" sz="1600" dirty="0"/>
              <a:t>por el DS N° 48, de 2017, ambos del Ministerio del Trabajo y Previsión </a:t>
            </a:r>
            <a:r>
              <a:rPr lang="es-CL" sz="1600" dirty="0" smtClean="0"/>
              <a:t>Social.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es-CL" sz="1600" dirty="0"/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b="1" dirty="0" smtClean="0"/>
              <a:t>Se </a:t>
            </a:r>
            <a:r>
              <a:rPr lang="es-CL" sz="1600" b="1" dirty="0"/>
              <a:t>aplicará en todos los lugares de trabajo del ámbito público o privado, independientemente de </a:t>
            </a:r>
            <a:r>
              <a:rPr lang="es-CL" sz="1600" b="1" dirty="0" smtClean="0"/>
              <a:t>la actividad </a:t>
            </a:r>
            <a:r>
              <a:rPr lang="es-CL" sz="1600" b="1" dirty="0"/>
              <a:t>económica, número de trabajadores, edad o sexo, donde se realicen tareas de </a:t>
            </a:r>
            <a:r>
              <a:rPr lang="es-CL" sz="1600" b="1" dirty="0" smtClean="0"/>
              <a:t>manipulación manual </a:t>
            </a:r>
            <a:r>
              <a:rPr lang="es-CL" sz="1600" b="1" dirty="0"/>
              <a:t>de pacientes y objetos de cualquier tipo, sobre los 3 </a:t>
            </a:r>
            <a:r>
              <a:rPr lang="es-CL" sz="1600" b="1" dirty="0" smtClean="0"/>
              <a:t>kg.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es-CL" sz="1600" dirty="0"/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/>
              <a:t>Su </a:t>
            </a:r>
            <a:r>
              <a:rPr lang="es-CL" sz="1600" dirty="0"/>
              <a:t>alcance </a:t>
            </a:r>
            <a:r>
              <a:rPr lang="es-CL" sz="1600" b="1" dirty="0"/>
              <a:t>incluye las etapas de identificar, evaluar y controlar los factores de riesgo asociados </a:t>
            </a:r>
            <a:r>
              <a:rPr lang="es-CL" sz="1600" b="1" dirty="0" smtClean="0"/>
              <a:t>al manejo </a:t>
            </a:r>
            <a:r>
              <a:rPr lang="es-CL" sz="1600" b="1" dirty="0"/>
              <a:t>o manipulación manual de carga, para evitar al máximo y por distintos medios, su </a:t>
            </a:r>
            <a:r>
              <a:rPr lang="es-CL" sz="1600" b="1" dirty="0" smtClean="0"/>
              <a:t>realización y</a:t>
            </a:r>
            <a:r>
              <a:rPr lang="es-CL" sz="1600" b="1" dirty="0"/>
              <a:t>, por consiguiente, el daño a la salud de los trabajadores</a:t>
            </a:r>
            <a:r>
              <a:rPr lang="es-CL" sz="1600" dirty="0"/>
              <a:t>. La Ley N°20.949 define que esta </a:t>
            </a:r>
            <a:r>
              <a:rPr lang="es-CL" sz="1600" dirty="0" smtClean="0"/>
              <a:t>gestión se </a:t>
            </a:r>
            <a:r>
              <a:rPr lang="es-CL" sz="1600" dirty="0"/>
              <a:t>realice de acuerdo con las indicaciones de la Guía Técnica de Evaluación y Control de los </a:t>
            </a:r>
            <a:r>
              <a:rPr lang="es-CL" sz="1600" dirty="0" smtClean="0"/>
              <a:t>Riesgos Asociados </a:t>
            </a:r>
            <a:r>
              <a:rPr lang="es-CL" sz="1600" dirty="0"/>
              <a:t>al MMC (artículo 211-H). Incluye además las indicaciones para verificar que las </a:t>
            </a:r>
            <a:r>
              <a:rPr lang="es-CL" sz="1600" dirty="0" smtClean="0"/>
              <a:t>medidas implementadas </a:t>
            </a:r>
            <a:r>
              <a:rPr lang="es-CL" sz="1600" dirty="0"/>
              <a:t>reduzcan efectivamente el riesgo.</a:t>
            </a:r>
            <a:endParaRPr lang="es-CL" sz="2000" b="1" dirty="0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Alcance de aplicación guía técnica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3922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564444" indent="-564444" defTabSz="922451">
              <a:tabLst>
                <a:tab pos="535870" algn="r"/>
              </a:tabLst>
            </a:pP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95536" y="1010444"/>
            <a:ext cx="8334375" cy="403187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b="1" dirty="0"/>
              <a:t>El empleador es el responsable de gestionar los riesgos asociados MMC y MMP </a:t>
            </a:r>
            <a:r>
              <a:rPr lang="es-CL" sz="1600" dirty="0"/>
              <a:t>(artículos 1° y </a:t>
            </a:r>
            <a:r>
              <a:rPr lang="es-CL" sz="1600" dirty="0" smtClean="0"/>
              <a:t>7° D.S</a:t>
            </a:r>
            <a:r>
              <a:rPr lang="es-CL" sz="1600" dirty="0"/>
              <a:t>. N°63 de 2005, del Ministerio del Trabajo y Previsión Social), desarrollando acciones de </a:t>
            </a:r>
            <a:r>
              <a:rPr lang="es-CL" sz="1600" dirty="0" smtClean="0"/>
              <a:t>prevención, control</a:t>
            </a:r>
            <a:r>
              <a:rPr lang="es-CL" sz="1600" dirty="0"/>
              <a:t>, reducción y protección de los riesgos para los trabajadores que realizan estas labores.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r>
              <a:rPr lang="es-CL" sz="1600" dirty="0" smtClean="0"/>
              <a:t>El </a:t>
            </a:r>
            <a:r>
              <a:rPr lang="es-CL" sz="1600" dirty="0"/>
              <a:t>empleador </a:t>
            </a:r>
            <a:r>
              <a:rPr lang="es-CL" sz="1600" dirty="0" smtClean="0"/>
              <a:t>deberá identificar </a:t>
            </a:r>
            <a:r>
              <a:rPr lang="es-CL" sz="1600" dirty="0"/>
              <a:t>y evaluar los riesgos a los que expone a los trabajadores durante la faena, por </a:t>
            </a:r>
            <a:r>
              <a:rPr lang="es-CL" sz="1600" dirty="0" smtClean="0"/>
              <a:t>intermedio de </a:t>
            </a:r>
            <a:r>
              <a:rPr lang="es-CL" sz="1600" dirty="0"/>
              <a:t>alguna de las siguientes personas o entidades (artículo 10 D.S. N°63</a:t>
            </a:r>
            <a:r>
              <a:rPr lang="es-CL" sz="1600" dirty="0" smtClean="0"/>
              <a:t>):</a:t>
            </a:r>
          </a:p>
          <a:p>
            <a:pPr eaLnBrk="1" hangingPunct="1"/>
            <a:endParaRPr lang="es-CL" sz="1600" dirty="0"/>
          </a:p>
          <a:p>
            <a:pPr marL="342900" indent="-342900" algn="just" eaLnBrk="1" hangingPunct="1">
              <a:buAutoNum type="alphaLcPeriod"/>
            </a:pPr>
            <a:r>
              <a:rPr lang="es-CL" sz="1600" dirty="0" smtClean="0"/>
              <a:t>El </a:t>
            </a:r>
            <a:r>
              <a:rPr lang="es-CL" sz="1600" dirty="0"/>
              <a:t>Departamento de Prevención de Riesgos a que se refiere la Ley </a:t>
            </a:r>
            <a:r>
              <a:rPr lang="es-CL" sz="1600" dirty="0" smtClean="0"/>
              <a:t>Nº 16.744</a:t>
            </a:r>
            <a:r>
              <a:rPr lang="es-CL" sz="1600" dirty="0"/>
              <a:t>, en aquellos casos </a:t>
            </a:r>
            <a:r>
              <a:rPr lang="es-CL" sz="1600" dirty="0" smtClean="0"/>
              <a:t>en que </a:t>
            </a:r>
            <a:r>
              <a:rPr lang="es-CL" sz="1600" dirty="0"/>
              <a:t>la entidad empleadora esté obligada a contar con esa </a:t>
            </a:r>
            <a:r>
              <a:rPr lang="es-CL" sz="1600" dirty="0" smtClean="0"/>
              <a:t>dependencia;</a:t>
            </a:r>
          </a:p>
          <a:p>
            <a:pPr marL="342900" indent="-342900" algn="just" eaLnBrk="1" hangingPunct="1">
              <a:buAutoNum type="alphaLcPeriod"/>
            </a:pPr>
            <a:r>
              <a:rPr lang="es-CL" sz="1600" b="1" dirty="0" smtClean="0"/>
              <a:t>Con </a:t>
            </a:r>
            <a:r>
              <a:rPr lang="es-CL" sz="1600" b="1" dirty="0"/>
              <a:t>la asistencia técnica (*) </a:t>
            </a:r>
            <a:r>
              <a:rPr lang="es-CL" sz="1600" dirty="0"/>
              <a:t>del Organismo Administrador de la Ley </a:t>
            </a:r>
            <a:r>
              <a:rPr lang="es-CL" sz="1600" dirty="0" smtClean="0"/>
              <a:t>Nº 16.744</a:t>
            </a:r>
            <a:r>
              <a:rPr lang="es-CL" sz="1600" dirty="0"/>
              <a:t>, al que se </a:t>
            </a:r>
            <a:r>
              <a:rPr lang="es-CL" sz="1600" dirty="0" smtClean="0"/>
              <a:t>encuentre afiliado </a:t>
            </a:r>
            <a:r>
              <a:rPr lang="es-CL" sz="1600" dirty="0"/>
              <a:t>o </a:t>
            </a:r>
            <a:r>
              <a:rPr lang="es-CL" sz="1600" dirty="0" smtClean="0"/>
              <a:t>adherido;</a:t>
            </a:r>
          </a:p>
          <a:p>
            <a:pPr marL="342900" indent="-342900" algn="just" eaLnBrk="1" hangingPunct="1">
              <a:buAutoNum type="alphaLcPeriod"/>
            </a:pPr>
            <a:r>
              <a:rPr lang="es-CL" sz="1600" dirty="0" smtClean="0"/>
              <a:t>Con </a:t>
            </a:r>
            <a:r>
              <a:rPr lang="es-CL" sz="1600" dirty="0"/>
              <a:t>la asesoría de profesionales que tengan competencias en la gestión del riesgo por </a:t>
            </a:r>
            <a:r>
              <a:rPr lang="es-CL" sz="1600" dirty="0" smtClean="0"/>
              <a:t>manejo manual </a:t>
            </a:r>
            <a:r>
              <a:rPr lang="es-CL" sz="1600" dirty="0"/>
              <a:t>de cargas (Ver capítulo 4</a:t>
            </a:r>
            <a:r>
              <a:rPr lang="es-CL" sz="1600" dirty="0" smtClean="0"/>
              <a:t>);</a:t>
            </a:r>
          </a:p>
          <a:p>
            <a:pPr marL="342900" indent="-342900" algn="just" eaLnBrk="1" hangingPunct="1">
              <a:buAutoNum type="alphaLcPeriod"/>
            </a:pPr>
            <a:r>
              <a:rPr lang="es-CL" sz="1600" dirty="0" smtClean="0"/>
              <a:t>El </a:t>
            </a:r>
            <a:r>
              <a:rPr lang="es-CL" sz="1600" dirty="0"/>
              <a:t>Comité Paritario de Higiene y Seguridad</a:t>
            </a:r>
            <a:r>
              <a:rPr lang="es-CL" sz="1600" dirty="0" smtClean="0"/>
              <a:t>.</a:t>
            </a:r>
            <a:endParaRPr lang="es-CL" sz="1600" dirty="0"/>
          </a:p>
        </p:txBody>
      </p:sp>
      <p:sp>
        <p:nvSpPr>
          <p:cNvPr id="5" name="4 Rectángulo"/>
          <p:cNvSpPr/>
          <p:nvPr/>
        </p:nvSpPr>
        <p:spPr>
          <a:xfrm>
            <a:off x="395536" y="5100042"/>
            <a:ext cx="8496944" cy="1169551"/>
          </a:xfrm>
          <a:prstGeom prst="rect">
            <a:avLst/>
          </a:prstGeom>
          <a:solidFill>
            <a:srgbClr val="195A28"/>
          </a:solidFill>
        </p:spPr>
        <p:txBody>
          <a:bodyPr wrap="square">
            <a:spAutoFit/>
          </a:bodyPr>
          <a:lstStyle/>
          <a:p>
            <a:pPr algn="just"/>
            <a:r>
              <a:rPr lang="es-CL" sz="1400" dirty="0">
                <a:solidFill>
                  <a:schemeClr val="bg1"/>
                </a:solidFill>
              </a:rPr>
              <a:t>(*) La Asistencia Técnica en gestión de riesgos </a:t>
            </a:r>
            <a:r>
              <a:rPr lang="es-CL" sz="1400" b="1" dirty="0">
                <a:solidFill>
                  <a:schemeClr val="bg1"/>
                </a:solidFill>
              </a:rPr>
              <a:t>contempla las acciones destinadas a entregar </a:t>
            </a:r>
            <a:r>
              <a:rPr lang="es-CL" sz="1400" b="1" dirty="0" smtClean="0">
                <a:solidFill>
                  <a:schemeClr val="bg1"/>
                </a:solidFill>
              </a:rPr>
              <a:t>herramientas a </a:t>
            </a:r>
            <a:r>
              <a:rPr lang="es-CL" sz="1400" b="1" dirty="0">
                <a:solidFill>
                  <a:schemeClr val="bg1"/>
                </a:solidFill>
              </a:rPr>
              <a:t>las empresas, para que estas sean capaces de gestionar sus riesgos</a:t>
            </a:r>
            <a:r>
              <a:rPr lang="es-CL" sz="1400" dirty="0">
                <a:solidFill>
                  <a:schemeClr val="bg1"/>
                </a:solidFill>
              </a:rPr>
              <a:t>, independiente de </a:t>
            </a:r>
            <a:r>
              <a:rPr lang="es-CL" sz="1400" dirty="0" smtClean="0">
                <a:solidFill>
                  <a:schemeClr val="bg1"/>
                </a:solidFill>
              </a:rPr>
              <a:t>su tamaño</a:t>
            </a:r>
            <a:r>
              <a:rPr lang="es-CL" sz="1400" dirty="0">
                <a:solidFill>
                  <a:schemeClr val="bg1"/>
                </a:solidFill>
              </a:rPr>
              <a:t>, actividad económica y riesgos específicos que deriven de sus actividades. La </a:t>
            </a:r>
            <a:r>
              <a:rPr lang="es-CL" sz="1400" b="1" dirty="0">
                <a:solidFill>
                  <a:schemeClr val="bg1"/>
                </a:solidFill>
              </a:rPr>
              <a:t>asistencia </a:t>
            </a:r>
            <a:r>
              <a:rPr lang="es-CL" sz="1400" b="1" dirty="0" smtClean="0">
                <a:solidFill>
                  <a:schemeClr val="bg1"/>
                </a:solidFill>
              </a:rPr>
              <a:t>técnica dará </a:t>
            </a:r>
            <a:r>
              <a:rPr lang="es-CL" sz="1400" b="1" dirty="0">
                <a:solidFill>
                  <a:schemeClr val="bg1"/>
                </a:solidFill>
              </a:rPr>
              <a:t>como resultado prescripciones por parte del OAL, las que deben ser registradas y </a:t>
            </a:r>
            <a:r>
              <a:rPr lang="es-CL" sz="1400" b="1" dirty="0" smtClean="0">
                <a:solidFill>
                  <a:schemeClr val="bg1"/>
                </a:solidFill>
              </a:rPr>
              <a:t>verificadas de </a:t>
            </a:r>
            <a:r>
              <a:rPr lang="es-CL" sz="1400" b="1" dirty="0">
                <a:solidFill>
                  <a:schemeClr val="bg1"/>
                </a:solidFill>
              </a:rPr>
              <a:t>acuerdo con los plazos establecidos.</a:t>
            </a:r>
          </a:p>
        </p:txBody>
      </p:sp>
      <p:sp>
        <p:nvSpPr>
          <p:cNvPr id="8" name="Título 4"/>
          <p:cNvSpPr txBox="1">
            <a:spLocks/>
          </p:cNvSpPr>
          <p:nvPr/>
        </p:nvSpPr>
        <p:spPr bwMode="auto">
          <a:xfrm>
            <a:off x="395536" y="168895"/>
            <a:ext cx="79928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s-CL" altLang="es-CL" sz="2000" b="1" kern="1200" cap="all" baseline="0">
                <a:solidFill>
                  <a:srgbClr val="195A28"/>
                </a:solidFill>
                <a:latin typeface="Arial" charset="0"/>
                <a:ea typeface="+mj-ea"/>
                <a:cs typeface="Arial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L" dirty="0" smtClean="0"/>
              <a:t>Responsabilidades en la gestión del riesg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17898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4.73670707183290050000E+000&quot;&gt;&lt;m_msothmcolidx val=&quot;0&quot;/&gt;&lt;m_rgb r=&quot;80&quot; g=&quot;BD&quot; b=&quot;26&quot;/&gt;&lt;m_nBrightness val=&quot;0&quot;/&gt;&lt;/elem&gt;&lt;elem m_fUsage=&quot;1.43574159609000060000E+000&quot;&gt;&lt;m_msothmcolidx val=&quot;0&quot;/&gt;&lt;m_rgb r=&quot;F3&quot; g=&quot;7D&quot; b=&quot;1E&quot;/&gt;&lt;m_nBrightness val=&quot;0&quot;/&gt;&lt;/elem&gt;&lt;elem m_fUsage=&quot;9.07368601766213150000E-001&quot;&gt;&lt;m_msothmcolidx val=&quot;0&quot;/&gt;&lt;m_rgb r=&quot;02&quot; g=&quot;78&quot; b=&quot;3A&quot;/&gt;&lt;m_nBrightness val=&quot;0&quot;/&gt;&lt;/elem&gt;&lt;elem m_fUsage=&quot;7.60726436481000250000E-001&quot;&gt;&lt;m_msothmcolidx val=&quot;0&quot;/&gt;&lt;m_rgb r=&quot;19&quot; g=&quot;5A&quot; b=&quot;28&quot;/&gt;&lt;m_nBrightness val=&quot;0&quot;/&gt;&lt;/elem&gt;&lt;elem m_fUsage=&quot;5.77446364649610300000E-001&quot;&gt;&lt;m_msothmcolidx val=&quot;0&quot;/&gt;&lt;m_rgb r=&quot;6B&quot; g=&quot;6D&quot; b=&quot;70&quot;/&gt;&lt;m_nBrightness val=&quot;0&quot;/&gt;&lt;/elem&gt;&lt;elem m_fUsage=&quot;4.30467210000000160000E-001&quot;&gt;&lt;m_msothmcolidx val=&quot;0&quot;/&gt;&lt;m_rgb r=&quot;E3&quot; g=&quot;00&quot; b=&quot;00&quot;/&gt;&lt;m_nBrightness val=&quot;0&quot;/&gt;&lt;/elem&gt;&lt;elem m_fUsage=&quot;3.53878288411552060000E-001&quot;&gt;&lt;m_msothmcolidx val=&quot;0&quot;/&gt;&lt;m_rgb r=&quot;05&quot; g=&quot;72&quot; b=&quot;26&quot;/&gt;&lt;m_nBrightness val=&quot;0&quot;/&gt;&lt;/elem&gt;&lt;elem m_fUsage=&quot;7.97664430768725700000E-002&quot;&gt;&lt;m_msothmcolidx val=&quot;0&quot;/&gt;&lt;m_rgb r=&quot;02&quot; g=&quot;4F&quot; b=&quot;2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31cF6Vk66VeFKRd7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OaD3tlK02guB014SRd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Yd98S9FEiHFTFJLIlqfg"/>
</p:tagLst>
</file>

<file path=ppt/theme/theme1.xml><?xml version="1.0" encoding="utf-8"?>
<a:theme xmlns:a="http://schemas.openxmlformats.org/drawingml/2006/main" name="1_20151203-PPT USO INTERNO ACHS">
  <a:themeElements>
    <a:clrScheme name="Personalizado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0BD26"/>
      </a:accent1>
      <a:accent2>
        <a:srgbClr val="25823B"/>
      </a:accent2>
      <a:accent3>
        <a:srgbClr val="D8D8D8"/>
      </a:accent3>
      <a:accent4>
        <a:srgbClr val="FFFFFF"/>
      </a:accent4>
      <a:accent5>
        <a:srgbClr val="D8D8D8"/>
      </a:accent5>
      <a:accent6>
        <a:srgbClr val="FFC000"/>
      </a:accent6>
      <a:hlink>
        <a:srgbClr val="195A28"/>
      </a:hlink>
      <a:folHlink>
        <a:srgbClr val="FFC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95A28"/>
        </a:solidFill>
        <a:ln w="6350">
          <a:noFill/>
        </a:ln>
      </a:spPr>
      <a:bodyPr lIns="36000" tIns="36000" rIns="36000" bIns="36000" rtlCol="0" anchor="ctr"/>
      <a:lstStyle>
        <a:defPPr algn="ctr">
          <a:defRPr sz="14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20170829-Template_2017_VF (interno).pptx [solo lectura]" id="{476FF759-D51C-4074-A97D-CF6ADE1DB788}" vid="{FECE3D0D-2C8E-4692-B5E7-12CA818B8C9C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n xmlns="b596f66d-9fcd-47c4-9e6e-6dd40f45329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531D39CBC02DC4BA1ABB2F1336AE2C1" ma:contentTypeVersion="1" ma:contentTypeDescription="Crear nuevo documento." ma:contentTypeScope="" ma:versionID="d50f64fbd96db9164dc6487aa1ce8ae3">
  <xsd:schema xmlns:xsd="http://www.w3.org/2001/XMLSchema" xmlns:xs="http://www.w3.org/2001/XMLSchema" xmlns:p="http://schemas.microsoft.com/office/2006/metadata/properties" xmlns:ns2="b596f66d-9fcd-47c4-9e6e-6dd40f45329f" targetNamespace="http://schemas.microsoft.com/office/2006/metadata/properties" ma:root="true" ma:fieldsID="d4e802a798b312ab0ff1118b1282b90a" ns2:_="">
    <xsd:import namespace="b596f66d-9fcd-47c4-9e6e-6dd40f45329f"/>
    <xsd:element name="properties">
      <xsd:complexType>
        <xsd:sequence>
          <xsd:element name="documentManagement">
            <xsd:complexType>
              <xsd:all>
                <xsd:element ref="ns2:Ord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96f66d-9fcd-47c4-9e6e-6dd40f45329f" elementFormDefault="qualified">
    <xsd:import namespace="http://schemas.microsoft.com/office/2006/documentManagement/types"/>
    <xsd:import namespace="http://schemas.microsoft.com/office/infopath/2007/PartnerControls"/>
    <xsd:element name="Orden" ma:index="8" nillable="true" ma:displayName="Orden" ma:internalName="Orden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C5BE2D-9DD0-469D-95D5-8AF684F48443}"/>
</file>

<file path=customXml/itemProps2.xml><?xml version="1.0" encoding="utf-8"?>
<ds:datastoreItem xmlns:ds="http://schemas.openxmlformats.org/officeDocument/2006/customXml" ds:itemID="{3C15A705-9C66-4CCB-9F36-C4FCEE8B5157}"/>
</file>

<file path=customXml/itemProps3.xml><?xml version="1.0" encoding="utf-8"?>
<ds:datastoreItem xmlns:ds="http://schemas.openxmlformats.org/officeDocument/2006/customXml" ds:itemID="{AEEE8324-83FB-4A84-AEF4-8C2BF045DD8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25</TotalTime>
  <Words>2167</Words>
  <Application>Microsoft Office PowerPoint</Application>
  <PresentationFormat>Presentación en pantalla (4:3)</PresentationFormat>
  <Paragraphs>240</Paragraphs>
  <Slides>33</Slides>
  <Notes>31</Notes>
  <HiddenSlides>2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3</vt:i4>
      </vt:variant>
    </vt:vector>
  </HeadingPairs>
  <TitlesOfParts>
    <vt:vector size="35" baseType="lpstr">
      <vt:lpstr>1_20151203-PPT USO INTERNO ACHS</vt:lpstr>
      <vt:lpstr>Diapositiva de think-cell</vt:lpstr>
      <vt:lpstr>Actualización Guía Técnica de MMC. DS N°63/Ley N°20.949 </vt:lpstr>
      <vt:lpstr>Introducción </vt:lpstr>
      <vt:lpstr>introducción</vt:lpstr>
      <vt:lpstr>introducción</vt:lpstr>
      <vt:lpstr>introducción</vt:lpstr>
      <vt:lpstr>introducción</vt:lpstr>
      <vt:lpstr>Sectores económicos foco achs</vt:lpstr>
      <vt:lpstr>Alcance de aplicación guía técnic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dentificación inicial y avanzada</vt:lpstr>
      <vt:lpstr>Identificación inicial y avanzada</vt:lpstr>
      <vt:lpstr>Identificación inicial y avanzada</vt:lpstr>
      <vt:lpstr>Identificación avanzada - moderada</vt:lpstr>
      <vt:lpstr>Identificación avanzada – condición crítica</vt:lpstr>
      <vt:lpstr>Identificación avanzada – medidas de control</vt:lpstr>
      <vt:lpstr>Etapa de EVALUACIÓN </vt:lpstr>
      <vt:lpstr>Etapa de EVALUACIÓN </vt:lpstr>
      <vt:lpstr>Método de evaluación inicial (MAC)</vt:lpstr>
      <vt:lpstr>Método de evaluación avanzado</vt:lpstr>
      <vt:lpstr>Etapa de EVALUACIÓN </vt:lpstr>
      <vt:lpstr>Etapa de EVALUACIÓN </vt:lpstr>
      <vt:lpstr>Medidas de control del riesgo</vt:lpstr>
      <vt:lpstr>Herramientas de apoyo achs</vt:lpstr>
      <vt:lpstr>Herramientas de apoyo achs</vt:lpstr>
      <vt:lpstr>Herramientas de apoyo achs</vt:lpstr>
      <vt:lpstr>Herramientas de apoyo achs</vt:lpstr>
      <vt:lpstr>OFERTA capacitación MMC</vt:lpstr>
      <vt:lpstr>En un futuro próximo achs gestión</vt:lpstr>
      <vt:lpstr>Presentación de PowerPoint</vt:lpstr>
    </vt:vector>
  </TitlesOfParts>
  <Company>ACH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: ARIAL 20, RGB: 25.90.40</dc:title>
  <dc:creator>ACHS</dc:creator>
  <cp:lastModifiedBy>Pinto Retamal, Rodrigo Enrique</cp:lastModifiedBy>
  <cp:revision>728</cp:revision>
  <cp:lastPrinted>2017-08-31T15:11:44Z</cp:lastPrinted>
  <dcterms:created xsi:type="dcterms:W3CDTF">2016-07-28T13:47:51Z</dcterms:created>
  <dcterms:modified xsi:type="dcterms:W3CDTF">2018-03-26T14:4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31D39CBC02DC4BA1ABB2F1336AE2C1</vt:lpwstr>
  </property>
</Properties>
</file>